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30" r:id="rId2"/>
    <p:sldMasterId id="2147483754" r:id="rId3"/>
  </p:sldMasterIdLst>
  <p:notesMasterIdLst>
    <p:notesMasterId r:id="rId38"/>
  </p:notesMasterIdLst>
  <p:handoutMasterIdLst>
    <p:handoutMasterId r:id="rId39"/>
  </p:handoutMasterIdLst>
  <p:sldIdLst>
    <p:sldId id="286" r:id="rId4"/>
    <p:sldId id="448" r:id="rId5"/>
    <p:sldId id="1134" r:id="rId6"/>
    <p:sldId id="1151" r:id="rId7"/>
    <p:sldId id="1136" r:id="rId8"/>
    <p:sldId id="389" r:id="rId9"/>
    <p:sldId id="1135" r:id="rId10"/>
    <p:sldId id="446" r:id="rId11"/>
    <p:sldId id="447" r:id="rId12"/>
    <p:sldId id="431" r:id="rId13"/>
    <p:sldId id="460" r:id="rId14"/>
    <p:sldId id="451" r:id="rId15"/>
    <p:sldId id="432" r:id="rId16"/>
    <p:sldId id="438" r:id="rId17"/>
    <p:sldId id="399" r:id="rId18"/>
    <p:sldId id="452" r:id="rId19"/>
    <p:sldId id="455" r:id="rId20"/>
    <p:sldId id="1153" r:id="rId21"/>
    <p:sldId id="1137" r:id="rId22"/>
    <p:sldId id="1138" r:id="rId23"/>
    <p:sldId id="1152" r:id="rId24"/>
    <p:sldId id="408" r:id="rId25"/>
    <p:sldId id="1149" r:id="rId26"/>
    <p:sldId id="1143" r:id="rId27"/>
    <p:sldId id="1144" r:id="rId28"/>
    <p:sldId id="1145" r:id="rId29"/>
    <p:sldId id="1146" r:id="rId30"/>
    <p:sldId id="1147" r:id="rId31"/>
    <p:sldId id="435" r:id="rId32"/>
    <p:sldId id="1139" r:id="rId33"/>
    <p:sldId id="411" r:id="rId34"/>
    <p:sldId id="1148" r:id="rId35"/>
    <p:sldId id="436" r:id="rId36"/>
    <p:sldId id="461" r:id="rId37"/>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3" pos="528" userDrawn="1">
          <p15:clr>
            <a:srgbClr val="A4A3A4"/>
          </p15:clr>
        </p15:guide>
        <p15:guide id="4" pos="7152" userDrawn="1">
          <p15:clr>
            <a:srgbClr val="A4A3A4"/>
          </p15:clr>
        </p15:guide>
        <p15:guide id="5" orient="horz" pos="21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nata, Kristy" initials="KK" lastIdx="62" clrIdx="0">
    <p:extLst>
      <p:ext uri="{19B8F6BF-5375-455C-9EA6-DF929625EA0E}">
        <p15:presenceInfo xmlns:p15="http://schemas.microsoft.com/office/powerpoint/2012/main" userId="S::e004596@hms.com::e8ef6629-3b7a-4f6c-a7ff-b5ccde3f0e29" providerId="AD"/>
      </p:ext>
    </p:extLst>
  </p:cmAuthor>
  <p:cmAuthor id="2" name="Stine, Mary" initials="SM" lastIdx="1" clrIdx="1">
    <p:extLst>
      <p:ext uri="{19B8F6BF-5375-455C-9EA6-DF929625EA0E}">
        <p15:presenceInfo xmlns:p15="http://schemas.microsoft.com/office/powerpoint/2012/main" userId="S-1-5-21-299502267-1425521274-682003330-57888" providerId="AD"/>
      </p:ext>
    </p:extLst>
  </p:cmAuthor>
  <p:cmAuthor id="3" name="Gilger, Alyssa" initials="GA" lastIdx="1" clrIdx="2">
    <p:extLst>
      <p:ext uri="{19B8F6BF-5375-455C-9EA6-DF929625EA0E}">
        <p15:presenceInfo xmlns:p15="http://schemas.microsoft.com/office/powerpoint/2012/main" userId="S-1-5-21-931884190-1934562970-315576832-18839" providerId="AD"/>
      </p:ext>
    </p:extLst>
  </p:cmAuthor>
  <p:cmAuthor id="4" name="Coccaro, Joanna" initials="CJ" lastIdx="2" clrIdx="3">
    <p:extLst>
      <p:ext uri="{19B8F6BF-5375-455C-9EA6-DF929625EA0E}">
        <p15:presenceInfo xmlns:p15="http://schemas.microsoft.com/office/powerpoint/2012/main" userId="S::e006775@hms.com::f1f83db7-920e-4cba-915a-13cabf13b984" providerId="AD"/>
      </p:ext>
    </p:extLst>
  </p:cmAuthor>
  <p:cmAuthor id="5" name="Kalisch, Chantal" initials="KC" lastIdx="8" clrIdx="4">
    <p:extLst>
      <p:ext uri="{19B8F6BF-5375-455C-9EA6-DF929625EA0E}">
        <p15:presenceInfo xmlns:p15="http://schemas.microsoft.com/office/powerpoint/2012/main" userId="S::chantal.kalisch@gainwelltechnologies.com::7d595f5e-99cb-477f-8a93-e4840e45c20f" providerId="AD"/>
      </p:ext>
    </p:extLst>
  </p:cmAuthor>
  <p:cmAuthor id="6" name="Gilger, Alyssa" initials="GA [2]" lastIdx="15" clrIdx="5">
    <p:extLst>
      <p:ext uri="{19B8F6BF-5375-455C-9EA6-DF929625EA0E}">
        <p15:presenceInfo xmlns:p15="http://schemas.microsoft.com/office/powerpoint/2012/main" userId="Gilger, Alyss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33"/>
    <a:srgbClr val="67767F"/>
    <a:srgbClr val="92A9B4"/>
    <a:srgbClr val="FAFAFA"/>
    <a:srgbClr val="485359"/>
    <a:srgbClr val="68767E"/>
    <a:srgbClr val="215D79"/>
    <a:srgbClr val="FA5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04" autoAdjust="0"/>
    <p:restoredTop sz="87688" autoAdjust="0"/>
  </p:normalViewPr>
  <p:slideViewPr>
    <p:cSldViewPr snapToGrid="0" snapToObjects="1">
      <p:cViewPr>
        <p:scale>
          <a:sx n="90" d="100"/>
          <a:sy n="90" d="100"/>
        </p:scale>
        <p:origin x="1380" y="306"/>
      </p:cViewPr>
      <p:guideLst>
        <p:guide pos="3840"/>
        <p:guide pos="528"/>
        <p:guide pos="7152"/>
        <p:guide orient="horz" pos="2136"/>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27234"/>
    </p:cViewPr>
  </p:sorterViewPr>
  <p:notesViewPr>
    <p:cSldViewPr snapToGrid="0" snapToObjects="1">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handoutMaster" Target="handoutMasters/handout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viewProps" Target="view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heme" Target="theme/theme1.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391FFDA3-7821-5145-A236-CBBD32323298}" type="datetimeFigureOut">
              <a:rPr lang="en-US"/>
              <a:pPr>
                <a:defRPr/>
              </a:pPr>
              <a:t>11/9/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24D55832-C5AA-9B4C-94EE-9DA68B769759}"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580F5A02-B640-D64D-8CFB-02B97ACF6867}" type="datetimeFigureOut">
              <a:rPr lang="en-US"/>
              <a:pPr>
                <a:defRPr/>
              </a:pPr>
              <a:t>11/9/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49CD32AE-A416-BC40-BDCB-8247D94B5F6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1</a:t>
            </a:fld>
            <a:endParaRPr lang="en-US" dirty="0"/>
          </a:p>
        </p:txBody>
      </p:sp>
    </p:spTree>
    <p:extLst>
      <p:ext uri="{BB962C8B-B14F-4D97-AF65-F5344CB8AC3E}">
        <p14:creationId xmlns:p14="http://schemas.microsoft.com/office/powerpoint/2010/main" val="2083584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10</a:t>
            </a:fld>
            <a:endParaRPr lang="en-US" dirty="0"/>
          </a:p>
        </p:txBody>
      </p:sp>
    </p:spTree>
    <p:extLst>
      <p:ext uri="{BB962C8B-B14F-4D97-AF65-F5344CB8AC3E}">
        <p14:creationId xmlns:p14="http://schemas.microsoft.com/office/powerpoint/2010/main" val="3572273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1"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500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4661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13</a:t>
            </a:fld>
            <a:endParaRPr lang="en-US" dirty="0"/>
          </a:p>
        </p:txBody>
      </p:sp>
    </p:spTree>
    <p:extLst>
      <p:ext uri="{BB962C8B-B14F-4D97-AF65-F5344CB8AC3E}">
        <p14:creationId xmlns:p14="http://schemas.microsoft.com/office/powerpoint/2010/main" val="20404880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4</a:t>
            </a:fld>
            <a:endParaRPr lang="en-US" dirty="0"/>
          </a:p>
        </p:txBody>
      </p:sp>
    </p:spTree>
    <p:extLst>
      <p:ext uri="{BB962C8B-B14F-4D97-AF65-F5344CB8AC3E}">
        <p14:creationId xmlns:p14="http://schemas.microsoft.com/office/powerpoint/2010/main" val="15748589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8994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4750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8</a:t>
            </a:fld>
            <a:endParaRPr lang="en-US" dirty="0"/>
          </a:p>
        </p:txBody>
      </p:sp>
    </p:spTree>
    <p:extLst>
      <p:ext uri="{BB962C8B-B14F-4D97-AF65-F5344CB8AC3E}">
        <p14:creationId xmlns:p14="http://schemas.microsoft.com/office/powerpoint/2010/main" val="41228701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6637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1</a:t>
            </a:fld>
            <a:endParaRPr lang="en-US" dirty="0"/>
          </a:p>
        </p:txBody>
      </p:sp>
    </p:spTree>
    <p:extLst>
      <p:ext uri="{BB962C8B-B14F-4D97-AF65-F5344CB8AC3E}">
        <p14:creationId xmlns:p14="http://schemas.microsoft.com/office/powerpoint/2010/main" val="31849611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2</a:t>
            </a:fld>
            <a:endParaRPr lang="en-US" dirty="0"/>
          </a:p>
        </p:txBody>
      </p:sp>
    </p:spTree>
    <p:extLst>
      <p:ext uri="{BB962C8B-B14F-4D97-AF65-F5344CB8AC3E}">
        <p14:creationId xmlns:p14="http://schemas.microsoft.com/office/powerpoint/2010/main" val="4037585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3</a:t>
            </a:fld>
            <a:endParaRPr lang="en-US" dirty="0"/>
          </a:p>
        </p:txBody>
      </p:sp>
    </p:spTree>
    <p:extLst>
      <p:ext uri="{BB962C8B-B14F-4D97-AF65-F5344CB8AC3E}">
        <p14:creationId xmlns:p14="http://schemas.microsoft.com/office/powerpoint/2010/main" val="2142703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4</a:t>
            </a:fld>
            <a:endParaRPr lang="en-US" dirty="0"/>
          </a:p>
        </p:txBody>
      </p:sp>
    </p:spTree>
    <p:extLst>
      <p:ext uri="{BB962C8B-B14F-4D97-AF65-F5344CB8AC3E}">
        <p14:creationId xmlns:p14="http://schemas.microsoft.com/office/powerpoint/2010/main" val="30207873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5</a:t>
            </a:fld>
            <a:endParaRPr lang="en-US" dirty="0"/>
          </a:p>
        </p:txBody>
      </p:sp>
    </p:spTree>
    <p:extLst>
      <p:ext uri="{BB962C8B-B14F-4D97-AF65-F5344CB8AC3E}">
        <p14:creationId xmlns:p14="http://schemas.microsoft.com/office/powerpoint/2010/main" val="22291784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6</a:t>
            </a:fld>
            <a:endParaRPr lang="en-US" dirty="0"/>
          </a:p>
        </p:txBody>
      </p:sp>
    </p:spTree>
    <p:extLst>
      <p:ext uri="{BB962C8B-B14F-4D97-AF65-F5344CB8AC3E}">
        <p14:creationId xmlns:p14="http://schemas.microsoft.com/office/powerpoint/2010/main" val="69012709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7</a:t>
            </a:fld>
            <a:endParaRPr lang="en-US" dirty="0"/>
          </a:p>
        </p:txBody>
      </p:sp>
    </p:spTree>
    <p:extLst>
      <p:ext uri="{BB962C8B-B14F-4D97-AF65-F5344CB8AC3E}">
        <p14:creationId xmlns:p14="http://schemas.microsoft.com/office/powerpoint/2010/main" val="177539990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8</a:t>
            </a:fld>
            <a:endParaRPr lang="en-US" dirty="0"/>
          </a:p>
        </p:txBody>
      </p:sp>
    </p:spTree>
    <p:extLst>
      <p:ext uri="{BB962C8B-B14F-4D97-AF65-F5344CB8AC3E}">
        <p14:creationId xmlns:p14="http://schemas.microsoft.com/office/powerpoint/2010/main" val="21645167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9</a:t>
            </a:fld>
            <a:endParaRPr lang="en-US" dirty="0"/>
          </a:p>
        </p:txBody>
      </p:sp>
    </p:spTree>
    <p:extLst>
      <p:ext uri="{BB962C8B-B14F-4D97-AF65-F5344CB8AC3E}">
        <p14:creationId xmlns:p14="http://schemas.microsoft.com/office/powerpoint/2010/main" val="42795528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5055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32</a:t>
            </a:fld>
            <a:endParaRPr lang="en-US" dirty="0"/>
          </a:p>
        </p:txBody>
      </p:sp>
    </p:spTree>
    <p:extLst>
      <p:ext uri="{BB962C8B-B14F-4D97-AF65-F5344CB8AC3E}">
        <p14:creationId xmlns:p14="http://schemas.microsoft.com/office/powerpoint/2010/main" val="42795528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33</a:t>
            </a:fld>
            <a:endParaRPr lang="en-US" dirty="0"/>
          </a:p>
        </p:txBody>
      </p:sp>
    </p:spTree>
    <p:extLst>
      <p:ext uri="{BB962C8B-B14F-4D97-AF65-F5344CB8AC3E}">
        <p14:creationId xmlns:p14="http://schemas.microsoft.com/office/powerpoint/2010/main" val="13316177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3</a:t>
            </a:fld>
            <a:endParaRPr lang="en-US" dirty="0"/>
          </a:p>
        </p:txBody>
      </p:sp>
    </p:spTree>
    <p:extLst>
      <p:ext uri="{BB962C8B-B14F-4D97-AF65-F5344CB8AC3E}">
        <p14:creationId xmlns:p14="http://schemas.microsoft.com/office/powerpoint/2010/main" val="14102149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34</a:t>
            </a:fld>
            <a:endParaRPr lang="en-US" dirty="0"/>
          </a:p>
        </p:txBody>
      </p:sp>
    </p:spTree>
    <p:extLst>
      <p:ext uri="{BB962C8B-B14F-4D97-AF65-F5344CB8AC3E}">
        <p14:creationId xmlns:p14="http://schemas.microsoft.com/office/powerpoint/2010/main" val="10198429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4</a:t>
            </a:fld>
            <a:endParaRPr lang="en-US" dirty="0"/>
          </a:p>
        </p:txBody>
      </p:sp>
    </p:spTree>
    <p:extLst>
      <p:ext uri="{BB962C8B-B14F-4D97-AF65-F5344CB8AC3E}">
        <p14:creationId xmlns:p14="http://schemas.microsoft.com/office/powerpoint/2010/main" val="1231009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308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6</a:t>
            </a:fld>
            <a:endParaRPr lang="en-US" dirty="0"/>
          </a:p>
        </p:txBody>
      </p:sp>
    </p:spTree>
    <p:extLst>
      <p:ext uri="{BB962C8B-B14F-4D97-AF65-F5344CB8AC3E}">
        <p14:creationId xmlns:p14="http://schemas.microsoft.com/office/powerpoint/2010/main" val="4027493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7</a:t>
            </a:fld>
            <a:endParaRPr lang="en-US"/>
          </a:p>
        </p:txBody>
      </p:sp>
    </p:spTree>
    <p:extLst>
      <p:ext uri="{BB962C8B-B14F-4D97-AF65-F5344CB8AC3E}">
        <p14:creationId xmlns:p14="http://schemas.microsoft.com/office/powerpoint/2010/main" val="40226356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8</a:t>
            </a:fld>
            <a:endParaRPr lang="en-US"/>
          </a:p>
        </p:txBody>
      </p:sp>
    </p:spTree>
    <p:extLst>
      <p:ext uri="{BB962C8B-B14F-4D97-AF65-F5344CB8AC3E}">
        <p14:creationId xmlns:p14="http://schemas.microsoft.com/office/powerpoint/2010/main" val="1870918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9</a:t>
            </a:fld>
            <a:endParaRPr lang="en-US"/>
          </a:p>
        </p:txBody>
      </p:sp>
    </p:spTree>
    <p:extLst>
      <p:ext uri="{BB962C8B-B14F-4D97-AF65-F5344CB8AC3E}">
        <p14:creationId xmlns:p14="http://schemas.microsoft.com/office/powerpoint/2010/main" val="41631698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file:////Users/Adrian_Garza/Desktop/HMSBasePPT/SuperDivider/Artboard%207.png" TargetMode="External"/><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6"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500" y="741363"/>
            <a:ext cx="12033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08175" y="-854075"/>
            <a:ext cx="10283825" cy="7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707080" y="1433015"/>
            <a:ext cx="6035465" cy="2373810"/>
          </a:xfrm>
        </p:spPr>
        <p:txBody>
          <a:bodyPr anchor="b"/>
          <a:lstStyle>
            <a:lvl1pPr>
              <a:defRPr sz="4400" spc="-180" baseline="0">
                <a:solidFill>
                  <a:schemeClr val="tx2"/>
                </a:solidFill>
              </a:defRPr>
            </a:lvl1pPr>
          </a:lstStyle>
          <a:p>
            <a:r>
              <a:rPr lang="en-US" dirty="0"/>
              <a:t>Click to enter slide title for cover</a:t>
            </a:r>
          </a:p>
        </p:txBody>
      </p:sp>
      <p:sp>
        <p:nvSpPr>
          <p:cNvPr id="5" name="Text Placeholder 4"/>
          <p:cNvSpPr>
            <a:spLocks noGrp="1"/>
          </p:cNvSpPr>
          <p:nvPr>
            <p:ph type="body" sz="quarter" idx="14"/>
          </p:nvPr>
        </p:nvSpPr>
        <p:spPr>
          <a:xfrm>
            <a:off x="706021" y="3909908"/>
            <a:ext cx="7664609" cy="492125"/>
          </a:xfrm>
        </p:spPr>
        <p:txBody>
          <a:bodyPr/>
          <a:lstStyle>
            <a:lvl1pPr marL="0" indent="0">
              <a:buFontTx/>
              <a:buNone/>
              <a:defRPr sz="2000" b="1" baseline="0">
                <a:solidFill>
                  <a:schemeClr val="accent4"/>
                </a:solidFill>
              </a:defRPr>
            </a:lvl1pPr>
          </a:lstStyle>
          <a:p>
            <a:pPr lvl="0"/>
            <a:r>
              <a:rPr lang="en-US"/>
              <a:t>Click to edit Master text styles</a:t>
            </a:r>
          </a:p>
        </p:txBody>
      </p:sp>
      <p:sp>
        <p:nvSpPr>
          <p:cNvPr id="9" name="Text Placeholder 4"/>
          <p:cNvSpPr>
            <a:spLocks noGrp="1"/>
          </p:cNvSpPr>
          <p:nvPr>
            <p:ph type="body" sz="quarter" idx="15"/>
          </p:nvPr>
        </p:nvSpPr>
        <p:spPr>
          <a:xfrm>
            <a:off x="706020" y="4505116"/>
            <a:ext cx="7664608" cy="492125"/>
          </a:xfrm>
        </p:spPr>
        <p:txBody>
          <a:bodyPr/>
          <a:lstStyle>
            <a:lvl1pPr marL="0" indent="0">
              <a:buFontTx/>
              <a:buNone/>
              <a:defRPr sz="1400" b="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4553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703686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4" name="Text Box 3"/>
          <p:cNvSpPr txBox="1">
            <a:spLocks noChangeArrowheads="1"/>
          </p:cNvSpPr>
          <p:nvPr/>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800" b="0" i="0" u="none" strike="noStrike" kern="1200" dirty="0">
                <a:solidFill>
                  <a:schemeClr val="tx1"/>
                </a:solidFill>
                <a:effectLst/>
                <a:latin typeface="Arial" charset="0"/>
                <a:ea typeface="+mn-ea"/>
                <a:cs typeface="+mn-cs"/>
              </a:rPr>
              <a:t>© 2019 HMS. All rights reserved.</a:t>
            </a:r>
            <a:endParaRPr lang="en-US" altLang="en-US" sz="700" dirty="0">
              <a:ea typeface="Segoe UI" charset="0"/>
              <a:cs typeface="Segoe UI" charset="0"/>
            </a:endParaRP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Tree>
    <p:extLst>
      <p:ext uri="{BB962C8B-B14F-4D97-AF65-F5344CB8AC3E}">
        <p14:creationId xmlns:p14="http://schemas.microsoft.com/office/powerpoint/2010/main" val="3132476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5602" r="34261" b="5602"/>
          <a:stretch>
            <a:fillRect/>
          </a:stretch>
        </p:blipFill>
        <p:spPr bwMode="auto">
          <a:xfrm>
            <a:off x="7107238" y="0"/>
            <a:ext cx="50847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F240BD98-2F3D-BC4B-B7D5-78CF2EB8ECAB}"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503171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6"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500" y="741363"/>
            <a:ext cx="12033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8175" y="-854075"/>
            <a:ext cx="10283825" cy="7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707080" y="1433015"/>
            <a:ext cx="6035465" cy="2373810"/>
          </a:xfrm>
        </p:spPr>
        <p:txBody>
          <a:bodyPr anchor="b"/>
          <a:lstStyle>
            <a:lvl1pPr>
              <a:defRPr sz="4400" spc="-180" baseline="0">
                <a:solidFill>
                  <a:schemeClr val="tx2"/>
                </a:solidFill>
              </a:defRPr>
            </a:lvl1pPr>
          </a:lstStyle>
          <a:p>
            <a:r>
              <a:rPr lang="en-US" dirty="0"/>
              <a:t>Click to enter slide title for cover</a:t>
            </a:r>
          </a:p>
        </p:txBody>
      </p:sp>
      <p:sp>
        <p:nvSpPr>
          <p:cNvPr id="5" name="Text Placeholder 4"/>
          <p:cNvSpPr>
            <a:spLocks noGrp="1"/>
          </p:cNvSpPr>
          <p:nvPr>
            <p:ph type="body" sz="quarter" idx="14"/>
          </p:nvPr>
        </p:nvSpPr>
        <p:spPr>
          <a:xfrm>
            <a:off x="706021" y="3909908"/>
            <a:ext cx="7664609" cy="492125"/>
          </a:xfrm>
        </p:spPr>
        <p:txBody>
          <a:bodyPr/>
          <a:lstStyle>
            <a:lvl1pPr marL="0" indent="0">
              <a:buFontTx/>
              <a:buNone/>
              <a:defRPr sz="2000" b="1" baseline="0">
                <a:solidFill>
                  <a:schemeClr val="accent4"/>
                </a:solidFill>
              </a:defRPr>
            </a:lvl1pPr>
          </a:lstStyle>
          <a:p>
            <a:pPr lvl="0"/>
            <a:r>
              <a:rPr lang="en-US"/>
              <a:t>Edit Master text styles</a:t>
            </a:r>
          </a:p>
        </p:txBody>
      </p:sp>
      <p:sp>
        <p:nvSpPr>
          <p:cNvPr id="9" name="Text Placeholder 4"/>
          <p:cNvSpPr>
            <a:spLocks noGrp="1"/>
          </p:cNvSpPr>
          <p:nvPr>
            <p:ph type="body" sz="quarter" idx="15"/>
          </p:nvPr>
        </p:nvSpPr>
        <p:spPr>
          <a:xfrm>
            <a:off x="706020" y="4505116"/>
            <a:ext cx="7664608" cy="492125"/>
          </a:xfrm>
        </p:spPr>
        <p:txBody>
          <a:bodyPr/>
          <a:lstStyle>
            <a:lvl1pPr marL="0" indent="0">
              <a:buFontTx/>
              <a:buNone/>
              <a:defRPr sz="1400" b="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880209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831853" y="477675"/>
            <a:ext cx="5334771" cy="5104261"/>
          </a:xfrm>
          <a:ln>
            <a:noFill/>
          </a:ln>
        </p:spPr>
        <p:txBody>
          <a:bodyPr>
            <a:noAutofit/>
          </a:bodyPr>
          <a:lstStyle>
            <a:lvl1pPr>
              <a:defRPr sz="7200" spc="-300" baseline="0">
                <a:solidFill>
                  <a:schemeClr val="bg1"/>
                </a:solidFill>
                <a:effectLst/>
              </a:defRPr>
            </a:lvl1pPr>
          </a:lstStyle>
          <a:p>
            <a:r>
              <a:rPr lang="en-US"/>
              <a:t>Big Ideas</a:t>
            </a:r>
            <a:br>
              <a:rPr lang="en-US"/>
            </a:br>
            <a:r>
              <a:rPr lang="en-US"/>
              <a:t>go </a:t>
            </a:r>
            <a:r>
              <a:rPr lang="en-US" dirty="0"/>
              <a:t>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483EDAEE-3A39-D54B-A1BC-04C3AEEE7877}"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a:t>
            </a:r>
          </a:p>
        </p:txBody>
      </p:sp>
    </p:spTree>
    <p:extLst>
      <p:ext uri="{BB962C8B-B14F-4D97-AF65-F5344CB8AC3E}">
        <p14:creationId xmlns:p14="http://schemas.microsoft.com/office/powerpoint/2010/main" val="1666615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200" y="1280377"/>
            <a:ext cx="6172200" cy="4873625"/>
          </a:xfrm>
        </p:spPr>
        <p:txBody>
          <a:bodyPr/>
          <a:lstStyle>
            <a:lvl1pPr>
              <a:spcAft>
                <a:spcPts val="800"/>
              </a:spcAft>
              <a:defRPr sz="3200" baseline="0">
                <a:solidFill>
                  <a:srgbClr val="68767E"/>
                </a:solidFill>
              </a:defRPr>
            </a:lvl1pPr>
            <a:lvl2pPr>
              <a:spcAft>
                <a:spcPts val="800"/>
              </a:spcAft>
              <a:defRPr sz="2800">
                <a:solidFill>
                  <a:srgbClr val="68767E"/>
                </a:solidFill>
              </a:defRPr>
            </a:lvl2pPr>
            <a:lvl3pPr>
              <a:spcAft>
                <a:spcPts val="800"/>
              </a:spcAft>
              <a:defRPr sz="2400">
                <a:solidFill>
                  <a:srgbClr val="68767E"/>
                </a:solidFill>
              </a:defRPr>
            </a:lvl3pPr>
            <a:lvl4pPr>
              <a:spcAft>
                <a:spcPts val="800"/>
              </a:spcAft>
              <a:defRPr sz="2000">
                <a:solidFill>
                  <a:srgbClr val="68767E"/>
                </a:solidFill>
              </a:defRPr>
            </a:lvl4pPr>
            <a:lvl5pPr>
              <a:spcAft>
                <a:spcPts val="800"/>
              </a:spcAft>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sz="800"/>
            </a:lvl1pPr>
          </a:lstStyle>
          <a:p>
            <a:fld id="{483F67D5-F15B-A249-820C-D5594CCEE82F}"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509142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199" y="1280377"/>
            <a:ext cx="6455485" cy="4873625"/>
          </a:xfrm>
        </p:spPr>
        <p:txBody>
          <a:bodyPr/>
          <a:lstStyle>
            <a:lvl1pPr marL="514350" indent="-514350">
              <a:spcAft>
                <a:spcPts val="800"/>
              </a:spcAft>
              <a:buFont typeface="+mj-lt"/>
              <a:buAutoNum type="arabicPeriod"/>
              <a:defRPr sz="3200" baseline="0">
                <a:solidFill>
                  <a:srgbClr val="68767E"/>
                </a:solidFill>
              </a:defRPr>
            </a:lvl1pPr>
            <a:lvl2pPr marL="971550" indent="-514350">
              <a:spcAft>
                <a:spcPts val="800"/>
              </a:spcAft>
              <a:buFont typeface="+mj-lt"/>
              <a:buAutoNum type="arabicPeriod"/>
              <a:defRPr sz="2800">
                <a:solidFill>
                  <a:srgbClr val="68767E"/>
                </a:solidFill>
              </a:defRPr>
            </a:lvl2pPr>
            <a:lvl3pPr marL="1371600" indent="-457200">
              <a:spcAft>
                <a:spcPts val="800"/>
              </a:spcAft>
              <a:buFont typeface="+mj-lt"/>
              <a:buAutoNum type="arabicPeriod"/>
              <a:defRPr sz="2400">
                <a:solidFill>
                  <a:srgbClr val="68767E"/>
                </a:solidFill>
              </a:defRPr>
            </a:lvl3pPr>
            <a:lvl4pPr marL="1828800" indent="-457200">
              <a:spcAft>
                <a:spcPts val="800"/>
              </a:spcAft>
              <a:buFont typeface="+mj-lt"/>
              <a:buAutoNum type="arabicPeriod"/>
              <a:defRPr sz="2000">
                <a:solidFill>
                  <a:srgbClr val="68767E"/>
                </a:solidFill>
              </a:defRPr>
            </a:lvl4pPr>
            <a:lvl5pPr marL="2286000" indent="-457200">
              <a:spcAft>
                <a:spcPts val="800"/>
              </a:spcAft>
              <a:buFont typeface="+mj-lt"/>
              <a:buAutoNum type="arabicPeriod"/>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a:lvl1pPr>
          </a:lstStyle>
          <a:p>
            <a:fld id="{0EE03E71-293B-6344-8263-AFCD065EDDF1}"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169311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2" y="1709742"/>
            <a:ext cx="6686548" cy="2852737"/>
          </a:xfrm>
        </p:spPr>
        <p:txBody>
          <a:bodyPr anchor="b"/>
          <a:lstStyle>
            <a:lvl1pPr>
              <a:defRPr sz="6000" spc="-200" baseline="0">
                <a:solidFill>
                  <a:schemeClr val="bg1"/>
                </a:solidFill>
              </a:defRPr>
            </a:lvl1pPr>
          </a:lstStyle>
          <a:p>
            <a:r>
              <a:rPr lang="en-US" dirty="0"/>
              <a:t>Click to Enter Divider Slide Tit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fld id="{CF6B4C3D-D524-2540-BBF9-5F1F3FF67CD0}" type="slidenum">
              <a:rPr lang="uk-UA" altLang="en-US"/>
              <a:pPr/>
              <a:t>‹#›</a:t>
            </a:fld>
            <a:endParaRPr lang="uk-UA" altLang="en-US"/>
          </a:p>
        </p:txBody>
      </p:sp>
      <p:sp>
        <p:nvSpPr>
          <p:cNvPr id="4" name="Footer Placeholder 1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a:t>
            </a:r>
          </a:p>
        </p:txBody>
      </p:sp>
    </p:spTree>
    <p:extLst>
      <p:ext uri="{BB962C8B-B14F-4D97-AF65-F5344CB8AC3E}">
        <p14:creationId xmlns:p14="http://schemas.microsoft.com/office/powerpoint/2010/main" val="31927572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24651448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chemeClr val="bg1"/>
                </a:solidFill>
              </a:defRPr>
            </a:lvl1pPr>
          </a:lstStyle>
          <a:p>
            <a:fld id="{82C1D96A-9FE9-B646-925B-84007A254345}"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
        <p:nvSpPr>
          <p:cNvPr id="9" name="Text Placeholder 8"/>
          <p:cNvSpPr>
            <a:spLocks noGrp="1"/>
          </p:cNvSpPr>
          <p:nvPr>
            <p:ph type="body" sz="quarter" idx="12" hasCustomPrompt="1"/>
          </p:nvPr>
        </p:nvSpPr>
        <p:spPr>
          <a:xfrm>
            <a:off x="838200" y="1161826"/>
            <a:ext cx="4798041" cy="3980890"/>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 go Here</a:t>
            </a:r>
          </a:p>
        </p:txBody>
      </p:sp>
    </p:spTree>
    <p:extLst>
      <p:ext uri="{BB962C8B-B14F-4D97-AF65-F5344CB8AC3E}">
        <p14:creationId xmlns:p14="http://schemas.microsoft.com/office/powerpoint/2010/main" val="3181269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
        <p:nvSpPr>
          <p:cNvPr id="12" name="Text Box 3"/>
          <p:cNvSpPr txBox="1">
            <a:spLocks noChangeArrowheads="1"/>
          </p:cNvSpPr>
          <p:nvPr userDrawn="1"/>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700" b="0" i="0" u="none" strike="noStrike" kern="1200" dirty="0">
                <a:solidFill>
                  <a:schemeClr val="tx1"/>
                </a:solidFill>
                <a:effectLst/>
                <a:latin typeface="Arial" charset="0"/>
                <a:ea typeface="+mn-ea"/>
                <a:cs typeface="+mn-cs"/>
              </a:rPr>
              <a:t>© 2019 HMS. All rights reserved.</a:t>
            </a:r>
            <a:endParaRPr lang="en-US" altLang="en-US" sz="700" baseline="0" dirty="0">
              <a:ea typeface="Segoe UI" charset="0"/>
              <a:cs typeface="Segoe UI" charset="0"/>
            </a:endParaRPr>
          </a:p>
        </p:txBody>
      </p:sp>
    </p:spTree>
    <p:extLst>
      <p:ext uri="{BB962C8B-B14F-4D97-AF65-F5344CB8AC3E}">
        <p14:creationId xmlns:p14="http://schemas.microsoft.com/office/powerpoint/2010/main" val="1153142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2" cy="1325563"/>
          </a:xfrm>
        </p:spPr>
        <p:txBody>
          <a:bodyPr/>
          <a:lstStyle/>
          <a:p>
            <a:r>
              <a:rPr lang="en-US" dirty="0"/>
              <a:t>Click to enter slide title</a:t>
            </a:r>
          </a:p>
        </p:txBody>
      </p:sp>
      <p:sp>
        <p:nvSpPr>
          <p:cNvPr id="3" name="Content Placeholder 2"/>
          <p:cNvSpPr>
            <a:spLocks noGrp="1"/>
          </p:cNvSpPr>
          <p:nvPr>
            <p:ph sz="half" idx="1" hasCustomPrompt="1"/>
          </p:nvPr>
        </p:nvSpPr>
        <p:spPr>
          <a:xfrm>
            <a:off x="838199" y="1825625"/>
            <a:ext cx="4828032" cy="4351338"/>
          </a:xfrm>
        </p:spPr>
        <p:txBody>
          <a:bodyPr/>
          <a:lstStyle>
            <a:lvl1pPr>
              <a:defRPr sz="2400"/>
            </a:lvl1pPr>
            <a:lvl2pPr>
              <a:defRPr sz="2200"/>
            </a:lvl2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72200" y="1825625"/>
            <a:ext cx="4828032" cy="4352544"/>
          </a:xfrm>
        </p:spPr>
        <p:txBody>
          <a:bodyPr/>
          <a:lstStyle>
            <a:lvl1pPr>
              <a:defRPr sz="2400"/>
            </a:lvl1pPr>
            <a:lvl2pPr>
              <a:defRPr sz="2200"/>
            </a:lvl2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lvl1pPr>
          </a:lstStyle>
          <a:p>
            <a:fld id="{7C7FEA44-931A-4E4C-A022-3819BCA7B004}" type="slidenum">
              <a:rPr lang="en-US" altLang="en-US"/>
              <a:pPr/>
              <a:t>‹#›</a:t>
            </a:fld>
            <a:endParaRPr lang="en-US" altLang="en-US" dirty="0"/>
          </a:p>
        </p:txBody>
      </p:sp>
      <p:sp>
        <p:nvSpPr>
          <p:cNvPr id="6" name="Footer Placeholder 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861258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8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1850" y="5011738"/>
            <a:ext cx="120173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1852" y="1282390"/>
            <a:ext cx="7731235" cy="3280089"/>
          </a:xfrm>
        </p:spPr>
        <p:txBody>
          <a:bodyPr anchor="b"/>
          <a:lstStyle>
            <a:lvl1pPr>
              <a:defRPr sz="6000" spc="-180" baseline="0">
                <a:solidFill>
                  <a:schemeClr val="bg1"/>
                </a:solidFill>
              </a:defRPr>
            </a:lvl1pPr>
          </a:lstStyle>
          <a:p>
            <a:r>
              <a:rPr lang="en-US" dirty="0"/>
              <a:t>ONLY use this slide to divide presentations within the same deck</a:t>
            </a:r>
          </a:p>
        </p:txBody>
      </p:sp>
    </p:spTree>
    <p:extLst>
      <p:ext uri="{BB962C8B-B14F-4D97-AF65-F5344CB8AC3E}">
        <p14:creationId xmlns:p14="http://schemas.microsoft.com/office/powerpoint/2010/main" val="2645505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9"/>
            <a:ext cx="10160446" cy="1325563"/>
          </a:xfrm>
        </p:spPr>
        <p:txBody>
          <a:bodyPr/>
          <a:lstStyle/>
          <a:p>
            <a:r>
              <a:rPr lang="en-US" dirty="0"/>
              <a:t>Click to enter slide title</a:t>
            </a:r>
          </a:p>
        </p:txBody>
      </p:sp>
      <p:sp>
        <p:nvSpPr>
          <p:cNvPr id="3" name="Text Placeholder 2"/>
          <p:cNvSpPr>
            <a:spLocks noGrp="1"/>
          </p:cNvSpPr>
          <p:nvPr>
            <p:ph type="body" idx="1" hasCustomPrompt="1"/>
          </p:nvPr>
        </p:nvSpPr>
        <p:spPr>
          <a:xfrm>
            <a:off x="839789" y="1681163"/>
            <a:ext cx="4828032" cy="823912"/>
          </a:xfrm>
        </p:spPr>
        <p:txBody>
          <a:bodyPr anchor="b">
            <a:noAutofit/>
          </a:bodyPr>
          <a:lstStyle>
            <a:lvl1pPr marL="0" indent="0">
              <a:buNone/>
              <a:defRPr sz="2600" b="1"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nter title for list</a:t>
            </a:r>
          </a:p>
        </p:txBody>
      </p:sp>
      <p:sp>
        <p:nvSpPr>
          <p:cNvPr id="4" name="Content Placeholder 3"/>
          <p:cNvSpPr>
            <a:spLocks noGrp="1"/>
          </p:cNvSpPr>
          <p:nvPr>
            <p:ph sz="half" idx="2" hasCustomPrompt="1"/>
          </p:nvPr>
        </p:nvSpPr>
        <p:spPr>
          <a:xfrm>
            <a:off x="839789" y="2505075"/>
            <a:ext cx="4828032" cy="3684588"/>
          </a:xfrm>
        </p:spPr>
        <p:txBody>
          <a:body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72202" y="1681163"/>
            <a:ext cx="4828032" cy="823912"/>
          </a:xfrm>
        </p:spPr>
        <p:txBody>
          <a:bodyPr anchor="b">
            <a:noAutofit/>
          </a:bodyPr>
          <a:lstStyle>
            <a:lvl1pPr marL="0" indent="0">
              <a:buNone/>
              <a:defRPr sz="2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nter title for list</a:t>
            </a:r>
          </a:p>
        </p:txBody>
      </p:sp>
      <p:sp>
        <p:nvSpPr>
          <p:cNvPr id="6" name="Content Placeholder 5"/>
          <p:cNvSpPr>
            <a:spLocks noGrp="1"/>
          </p:cNvSpPr>
          <p:nvPr>
            <p:ph sz="quarter" idx="4" hasCustomPrompt="1"/>
          </p:nvPr>
        </p:nvSpPr>
        <p:spPr>
          <a:xfrm>
            <a:off x="6172202" y="2505075"/>
            <a:ext cx="4828032" cy="3684588"/>
          </a:xfrm>
        </p:spPr>
        <p:txBody>
          <a:body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8"/>
          <p:cNvSpPr>
            <a:spLocks noGrp="1"/>
          </p:cNvSpPr>
          <p:nvPr>
            <p:ph type="sldNum" sz="quarter" idx="10"/>
          </p:nvPr>
        </p:nvSpPr>
        <p:spPr/>
        <p:txBody>
          <a:bodyPr/>
          <a:lstStyle>
            <a:lvl1pPr>
              <a:defRPr/>
            </a:lvl1pPr>
          </a:lstStyle>
          <a:p>
            <a:fld id="{9F80D935-BFCE-2C4A-9964-867D339AFF03}" type="slidenum">
              <a:rPr lang="en-US" altLang="en-US"/>
              <a:pPr/>
              <a:t>‹#›</a:t>
            </a:fld>
            <a:endParaRPr lang="en-US" altLang="en-US" dirty="0"/>
          </a:p>
        </p:txBody>
      </p:sp>
      <p:sp>
        <p:nvSpPr>
          <p:cNvPr id="8" name="Footer Placeholder 9"/>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442287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rgbClr val="343B3F"/>
                </a:solidFill>
              </a:defRPr>
            </a:lvl1pPr>
          </a:lstStyle>
          <a:p>
            <a:fld id="{5FA0649D-9361-F247-A5B8-556F87B18A33}"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tx1">
                    <a:lumMod val="50000"/>
                  </a:schemeClr>
                </a:solidFill>
              </a:defRPr>
            </a:lvl1pPr>
          </a:lstStyle>
          <a:p>
            <a:pPr>
              <a:defRPr/>
            </a:pPr>
            <a:r>
              <a:rPr lang="en-US" dirty="0"/>
              <a:t>HMS Confidential. Do not Distribute. HMS INTERNAL ONLY</a:t>
            </a:r>
          </a:p>
        </p:txBody>
      </p:sp>
      <p:sp>
        <p:nvSpPr>
          <p:cNvPr id="7" name="Text Placeholder 8"/>
          <p:cNvSpPr>
            <a:spLocks noGrp="1"/>
          </p:cNvSpPr>
          <p:nvPr>
            <p:ph type="body" sz="quarter" idx="12" hasCustomPrompt="1"/>
          </p:nvPr>
        </p:nvSpPr>
        <p:spPr>
          <a:xfrm>
            <a:off x="838200" y="477675"/>
            <a:ext cx="5334771" cy="5104261"/>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a:t>
            </a:r>
            <a:br>
              <a:rPr lang="en-US" dirty="0"/>
            </a:br>
            <a:r>
              <a:rPr lang="en-US" dirty="0"/>
              <a:t>go Here</a:t>
            </a:r>
          </a:p>
        </p:txBody>
      </p:sp>
    </p:spTree>
    <p:extLst>
      <p:ext uri="{BB962C8B-B14F-4D97-AF65-F5344CB8AC3E}">
        <p14:creationId xmlns:p14="http://schemas.microsoft.com/office/powerpoint/2010/main" val="1238094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952120" y="477675"/>
            <a:ext cx="5065286" cy="4885897"/>
          </a:xfrm>
          <a:ln>
            <a:noFill/>
          </a:ln>
          <a:effectLst/>
        </p:spPr>
        <p:txBody>
          <a:bodyPr>
            <a:noAutofit/>
          </a:bodyPr>
          <a:lstStyle>
            <a:lvl1pPr>
              <a:defRPr sz="7200" spc="-300" baseline="0">
                <a:solidFill>
                  <a:schemeClr val="bg1"/>
                </a:solidFill>
                <a:effectLst/>
              </a:defRPr>
            </a:lvl1pPr>
          </a:lstStyle>
          <a:p>
            <a:r>
              <a:rPr lang="en-US" dirty="0"/>
              <a:t>Big Ideas 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12C335A5-FE72-B14C-BC9C-D3E4F3DA3BD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1785695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bg1"/>
        </a:soli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hasCustomPrompt="1"/>
          </p:nvPr>
        </p:nvSpPr>
        <p:spPr>
          <a:xfrm>
            <a:off x="934070" y="477675"/>
            <a:ext cx="5401681" cy="4885897"/>
          </a:xfrm>
          <a:ln>
            <a:noFill/>
          </a:ln>
          <a:effectLst/>
        </p:spPr>
        <p:txBody>
          <a:bodyPr>
            <a:noAutofit/>
          </a:bodyPr>
          <a:lstStyle>
            <a:lvl1pPr>
              <a:defRPr sz="7200" spc="-300" baseline="0">
                <a:solidFill>
                  <a:schemeClr val="tx2"/>
                </a:solidFill>
                <a:effectLst/>
              </a:defRPr>
            </a:lvl1pPr>
          </a:lstStyle>
          <a:p>
            <a:r>
              <a:rPr lang="en-US" dirty="0"/>
              <a:t>Big Ideas</a:t>
            </a:r>
            <a:br>
              <a:rPr lang="en-US" dirty="0"/>
            </a:br>
            <a:r>
              <a:rPr lang="en-US" dirty="0"/>
              <a:t>go Her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300415D1-F3EF-8B40-82BD-B4B82A69B724}" type="slidenum">
              <a:rPr lang="uk-UA" altLang="en-US"/>
              <a:pPr/>
              <a:t>‹#›</a:t>
            </a:fld>
            <a:endParaRPr lang="uk-UA" altLang="en-US"/>
          </a:p>
        </p:txBody>
      </p:sp>
      <p:sp>
        <p:nvSpPr>
          <p:cNvPr id="6" name="Footer Placeholder 5"/>
          <p:cNvSpPr>
            <a:spLocks noGrp="1"/>
          </p:cNvSpPr>
          <p:nvPr>
            <p:ph type="ftr" sz="quarter" idx="11"/>
          </p:nvPr>
        </p:nvSpPr>
        <p:spPr/>
        <p:txBody>
          <a:bodyPr/>
          <a:lstStyle>
            <a:lvl1pPr>
              <a:defRPr dirty="0" smtClean="0">
                <a:solidFill>
                  <a:schemeClr val="tx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250482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87429"/>
            <a:ext cx="3540826" cy="1600200"/>
          </a:xfrm>
        </p:spPr>
        <p:txBody>
          <a:bodyPr anchor="t"/>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5183188" y="987429"/>
            <a:ext cx="5906570" cy="4873625"/>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A69E0DE4-6844-874D-8312-3E87C09E754D}" type="slidenum">
              <a:rPr lang="uk-UA" altLang="en-US"/>
              <a:pPr/>
              <a:t>‹#›</a:t>
            </a:fld>
            <a:endParaRPr lang="uk-UA" altLang="en-US"/>
          </a:p>
        </p:txBody>
      </p:sp>
      <p:sp>
        <p:nvSpPr>
          <p:cNvPr id="5" name="Footer Placeholder 1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3218025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962775" y="0"/>
            <a:ext cx="52292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4D2556A0-B583-7949-8874-9B74B908AF8A}"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798836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81800" y="0"/>
            <a:ext cx="5410200"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25AE83D6-4D56-2949-90D6-B2AF8DD47864}"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8369880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283588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5602" r="34261" b="5602"/>
          <a:stretch>
            <a:fillRect/>
          </a:stretch>
        </p:blipFill>
        <p:spPr bwMode="auto">
          <a:xfrm>
            <a:off x="7107238" y="0"/>
            <a:ext cx="50847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F240BD98-2F3D-BC4B-B7D5-78CF2EB8ECAB}"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1220052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831851" y="709687"/>
            <a:ext cx="5751830" cy="4885897"/>
          </a:xfrm>
          <a:ln>
            <a:noFill/>
          </a:ln>
        </p:spPr>
        <p:txBody>
          <a:bodyPr>
            <a:noAutofit/>
          </a:bodyPr>
          <a:lstStyle>
            <a:lvl1pPr>
              <a:defRPr sz="7200" spc="-300" baseline="0">
                <a:solidFill>
                  <a:schemeClr val="bg1"/>
                </a:solidFill>
                <a:effectLst/>
              </a:defRPr>
            </a:lvl1pPr>
          </a:lstStyle>
          <a:p>
            <a:r>
              <a:rPr lang="en-US" dirty="0"/>
              <a:t>Big Ideas</a:t>
            </a:r>
            <a:br>
              <a:rPr lang="en-US" dirty="0"/>
            </a:br>
            <a:r>
              <a:rPr lang="en-US" dirty="0"/>
              <a:t>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AE51C8BE-CECB-B843-BD47-47C93A16D243}"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039259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42146436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fld id="{43443AB8-7904-9444-87E5-10C0FEFCC7D1}" type="slidenum">
              <a:rPr lang="en-US" altLang="en-US"/>
              <a:pPr/>
              <a:t>‹#›</a:t>
            </a:fld>
            <a:endParaRPr lang="en-US" altLang="en-US" dirty="0"/>
          </a:p>
        </p:txBody>
      </p:sp>
      <p:sp>
        <p:nvSpPr>
          <p:cNvPr id="3"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9646042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chemeClr val="bg1"/>
                </a:solidFill>
              </a:defRPr>
            </a:lvl1pPr>
          </a:lstStyle>
          <a:p>
            <a:fld id="{3C87677F-9EE0-1D46-953C-F8704949B36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
        <p:nvSpPr>
          <p:cNvPr id="6" name="Text Placeholder 8"/>
          <p:cNvSpPr>
            <a:spLocks noGrp="1"/>
          </p:cNvSpPr>
          <p:nvPr>
            <p:ph type="body" sz="quarter" idx="12" hasCustomPrompt="1"/>
          </p:nvPr>
        </p:nvSpPr>
        <p:spPr>
          <a:xfrm>
            <a:off x="838200" y="477675"/>
            <a:ext cx="5334771" cy="5104261"/>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a:t>
            </a:r>
            <a:br>
              <a:rPr lang="en-US" dirty="0"/>
            </a:br>
            <a:r>
              <a:rPr lang="en-US" dirty="0"/>
              <a:t>go Here</a:t>
            </a:r>
          </a:p>
        </p:txBody>
      </p:sp>
    </p:spTree>
    <p:extLst>
      <p:ext uri="{BB962C8B-B14F-4D97-AF65-F5344CB8AC3E}">
        <p14:creationId xmlns:p14="http://schemas.microsoft.com/office/powerpoint/2010/main" val="12948357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4" name="Text Box 3"/>
          <p:cNvSpPr txBox="1">
            <a:spLocks noChangeArrowheads="1"/>
          </p:cNvSpPr>
          <p:nvPr/>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800" b="0" i="0" u="none" strike="noStrike" kern="1200" dirty="0">
                <a:solidFill>
                  <a:schemeClr val="tx1"/>
                </a:solidFill>
                <a:effectLst/>
                <a:latin typeface="Arial" charset="0"/>
                <a:ea typeface="+mn-ea"/>
                <a:cs typeface="+mn-cs"/>
              </a:rPr>
              <a:t>© 2019 HMS. All rights reserved.</a:t>
            </a:r>
            <a:endParaRPr lang="en-US" altLang="en-US" sz="700" dirty="0">
              <a:ea typeface="Segoe UI" charset="0"/>
              <a:cs typeface="Segoe UI" charset="0"/>
            </a:endParaRP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Tree>
    <p:extLst>
      <p:ext uri="{BB962C8B-B14F-4D97-AF65-F5344CB8AC3E}">
        <p14:creationId xmlns:p14="http://schemas.microsoft.com/office/powerpoint/2010/main" val="3596968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nterior P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4573" y="261886"/>
            <a:ext cx="11452123" cy="76312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 name="Text Placeholder 9"/>
          <p:cNvSpPr>
            <a:spLocks noGrp="1"/>
          </p:cNvSpPr>
          <p:nvPr>
            <p:ph type="body" sz="quarter" idx="11" hasCustomPrompt="1"/>
          </p:nvPr>
        </p:nvSpPr>
        <p:spPr>
          <a:xfrm>
            <a:off x="465138" y="1331913"/>
            <a:ext cx="11452225" cy="4886007"/>
          </a:xfrm>
        </p:spPr>
        <p:txBody>
          <a:bodyPr/>
          <a:lstStyle/>
          <a:p>
            <a:pPr lvl="0"/>
            <a:r>
              <a:rPr lang="en-US" dirty="0"/>
              <a:t>Bullet Level 01</a:t>
            </a:r>
          </a:p>
          <a:p>
            <a:pPr lvl="0"/>
            <a:r>
              <a:rPr lang="en-US" dirty="0"/>
              <a:t>Bullet Level 01</a:t>
            </a:r>
          </a:p>
          <a:p>
            <a:pPr lvl="1"/>
            <a:r>
              <a:rPr lang="en-US" dirty="0"/>
              <a:t>Bullet Level 02</a:t>
            </a:r>
          </a:p>
          <a:p>
            <a:pPr lvl="2"/>
            <a:r>
              <a:rPr lang="en-US" dirty="0"/>
              <a:t>Bullet Level 03</a:t>
            </a:r>
          </a:p>
          <a:p>
            <a:pPr lvl="2"/>
            <a:r>
              <a:rPr lang="en-US" dirty="0"/>
              <a:t>Bullet Level 03</a:t>
            </a:r>
          </a:p>
          <a:p>
            <a:pPr lvl="1"/>
            <a:r>
              <a:rPr lang="en-US" dirty="0"/>
              <a:t>Bullet Level 02</a:t>
            </a:r>
          </a:p>
          <a:p>
            <a:pPr lvl="1"/>
            <a:r>
              <a:rPr lang="en-US" dirty="0"/>
              <a:t>Bullet Level 02</a:t>
            </a:r>
          </a:p>
          <a:p>
            <a:pPr lvl="0"/>
            <a:r>
              <a:rPr lang="en-US" dirty="0"/>
              <a:t>Bullet Level 01</a:t>
            </a:r>
          </a:p>
        </p:txBody>
      </p:sp>
      <p:sp>
        <p:nvSpPr>
          <p:cNvPr id="2" name="Slide Number Placeholder 1"/>
          <p:cNvSpPr>
            <a:spLocks noGrp="1"/>
          </p:cNvSpPr>
          <p:nvPr>
            <p:ph type="sldNum" sz="quarter" idx="12"/>
          </p:nvPr>
        </p:nvSpPr>
        <p:spPr/>
        <p:txBody>
          <a:bodyPr/>
          <a:lstStyle/>
          <a:p>
            <a:fld id="{92A13CFA-4BC0-2D4B-A6FF-632B38151E97}" type="slidenum">
              <a:rPr lang="en-US" smtClean="0"/>
              <a:pPr/>
              <a:t>‹#›</a:t>
            </a:fld>
            <a:endParaRPr lang="en-US" dirty="0"/>
          </a:p>
        </p:txBody>
      </p:sp>
      <p:sp>
        <p:nvSpPr>
          <p:cNvPr id="7" name="TextBox 6"/>
          <p:cNvSpPr txBox="1">
            <a:spLocks noChangeArrowheads="1"/>
          </p:cNvSpPr>
          <p:nvPr userDrawn="1"/>
        </p:nvSpPr>
        <p:spPr bwMode="auto">
          <a:xfrm>
            <a:off x="0" y="6683593"/>
            <a:ext cx="12191999" cy="1744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US" altLang="en-US" sz="800" baseline="30000" dirty="0">
                <a:solidFill>
                  <a:schemeClr val="tx1"/>
                </a:solidFill>
                <a:latin typeface="Verdana" charset="0"/>
                <a:ea typeface="Verdana" charset="0"/>
                <a:cs typeface="Verdana" charset="0"/>
              </a:rPr>
              <a:t>Proprietary and Confidential to HMS Eliza. Copying or distribution by any method is prohibited without prior authorization from HMS Eliza.</a:t>
            </a:r>
          </a:p>
        </p:txBody>
      </p:sp>
    </p:spTree>
    <p:extLst>
      <p:ext uri="{BB962C8B-B14F-4D97-AF65-F5344CB8AC3E}">
        <p14:creationId xmlns:p14="http://schemas.microsoft.com/office/powerpoint/2010/main" val="237829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Interior Section - Teal">
    <p:spTree>
      <p:nvGrpSpPr>
        <p:cNvPr id="1" name=""/>
        <p:cNvGrpSpPr/>
        <p:nvPr/>
      </p:nvGrpSpPr>
      <p:grpSpPr>
        <a:xfrm>
          <a:off x="0" y="0"/>
          <a:ext cx="0" cy="0"/>
          <a:chOff x="0" y="0"/>
          <a:chExt cx="0" cy="0"/>
        </a:xfrm>
      </p:grpSpPr>
      <p:sp>
        <p:nvSpPr>
          <p:cNvPr id="4" name="Rectangle 3"/>
          <p:cNvSpPr/>
          <p:nvPr userDrawn="1"/>
        </p:nvSpPr>
        <p:spPr>
          <a:xfrm>
            <a:off x="0" y="1"/>
            <a:ext cx="12192000" cy="707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5" name="TextBox 6"/>
          <p:cNvSpPr txBox="1">
            <a:spLocks noChangeArrowheads="1"/>
          </p:cNvSpPr>
          <p:nvPr userDrawn="1"/>
        </p:nvSpPr>
        <p:spPr bwMode="auto">
          <a:xfrm>
            <a:off x="97367" y="6492876"/>
            <a:ext cx="6411384"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z="1000" dirty="0">
                <a:solidFill>
                  <a:srgbClr val="FFFFFF"/>
                </a:solidFill>
              </a:rPr>
              <a:t>HMS confidential. Do not distribute.</a:t>
            </a:r>
          </a:p>
        </p:txBody>
      </p:sp>
      <p:pic>
        <p:nvPicPr>
          <p:cNvPr id="7" name="Picture 8"/>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980" y="17098"/>
            <a:ext cx="699328" cy="67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6"/>
          <p:cNvSpPr>
            <a:spLocks noGrp="1"/>
          </p:cNvSpPr>
          <p:nvPr>
            <p:ph type="body" sz="quarter" idx="11"/>
          </p:nvPr>
        </p:nvSpPr>
        <p:spPr>
          <a:xfrm>
            <a:off x="894061" y="11115"/>
            <a:ext cx="11297939" cy="696325"/>
          </a:xfrm>
        </p:spPr>
        <p:txBody>
          <a:bodyPr anchor="ctr">
            <a:normAutofit/>
          </a:bodyPr>
          <a:lstStyle>
            <a:lvl1pPr marL="0" indent="0" algn="l">
              <a:buNone/>
              <a:defRPr sz="2800" i="0" baseline="0">
                <a:solidFill>
                  <a:schemeClr val="bg1"/>
                </a:solidFill>
                <a:latin typeface="Georgia" charset="0"/>
                <a:ea typeface="Georgia" charset="0"/>
                <a:cs typeface="Georgia" charset="0"/>
              </a:defRPr>
            </a:lvl1pPr>
          </a:lstStyle>
          <a:p>
            <a:pPr lvl="0"/>
            <a:r>
              <a:rPr lang="en-US" dirty="0"/>
              <a:t>Click to edit Master text styles</a:t>
            </a:r>
          </a:p>
        </p:txBody>
      </p:sp>
      <p:sp>
        <p:nvSpPr>
          <p:cNvPr id="9" name="Slide Number Placeholder 2"/>
          <p:cNvSpPr>
            <a:spLocks noGrp="1"/>
          </p:cNvSpPr>
          <p:nvPr>
            <p:ph type="sldNum" sz="quarter" idx="13"/>
          </p:nvPr>
        </p:nvSpPr>
        <p:spPr/>
        <p:txBody>
          <a:bodyPr/>
          <a:lstStyle>
            <a:lvl1pPr>
              <a:defRPr/>
            </a:lvl1pPr>
          </a:lstStyle>
          <a:p>
            <a:pPr>
              <a:defRPr/>
            </a:pPr>
            <a:fld id="{F5803204-C1CE-4AF9-9B04-A19E678D24D0}" type="slidenum">
              <a:rPr lang="en-US" smtClean="0">
                <a:solidFill>
                  <a:srgbClr val="7F8C95"/>
                </a:solidFill>
              </a:rPr>
              <a:pPr>
                <a:defRPr/>
              </a:pPr>
              <a:t>‹#›</a:t>
            </a:fld>
            <a:endParaRPr lang="en-US" dirty="0">
              <a:solidFill>
                <a:srgbClr val="7F8C95"/>
              </a:solidFill>
            </a:endParaRPr>
          </a:p>
        </p:txBody>
      </p:sp>
    </p:spTree>
    <p:extLst>
      <p:ext uri="{BB962C8B-B14F-4D97-AF65-F5344CB8AC3E}">
        <p14:creationId xmlns:p14="http://schemas.microsoft.com/office/powerpoint/2010/main" val="18549712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ection Header">
    <p:bg>
      <p:bgPr>
        <a:blipFill dpi="0" rotWithShape="1">
          <a:blip r:embed="rId2" r:link="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1709740"/>
            <a:ext cx="9159643" cy="2852737"/>
          </a:xfrm>
        </p:spPr>
        <p:txBody>
          <a:bodyPr anchor="b"/>
          <a:lstStyle>
            <a:lvl1pPr>
              <a:defRPr sz="6000" spc="-180" baseline="0">
                <a:solidFill>
                  <a:schemeClr val="bg1"/>
                </a:solidFill>
              </a:defRPr>
            </a:lvl1pPr>
          </a:lstStyle>
          <a:p>
            <a:r>
              <a:rPr lang="en-US" dirty="0"/>
              <a:t>This slides divides presentations within each other.</a:t>
            </a:r>
          </a:p>
        </p:txBody>
      </p:sp>
      <p:pic>
        <p:nvPicPr>
          <p:cNvPr id="3" name="Picture 2"/>
          <p:cNvPicPr>
            <a:picLocks noChangeAspect="1"/>
          </p:cNvPicPr>
          <p:nvPr userDrawn="1"/>
        </p:nvPicPr>
        <p:blipFill>
          <a:blip r:embed="rId4"/>
          <a:stretch>
            <a:fillRect/>
          </a:stretch>
        </p:blipFill>
        <p:spPr>
          <a:xfrm>
            <a:off x="1037830" y="5012468"/>
            <a:ext cx="1602069" cy="351103"/>
          </a:xfrm>
          <a:prstGeom prst="rect">
            <a:avLst/>
          </a:prstGeom>
        </p:spPr>
      </p:pic>
    </p:spTree>
    <p:extLst>
      <p:ext uri="{BB962C8B-B14F-4D97-AF65-F5344CB8AC3E}">
        <p14:creationId xmlns:p14="http://schemas.microsoft.com/office/powerpoint/2010/main" val="2832556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a:t>
            </a:r>
            <a:r>
              <a:rPr lang="id-ID" dirty="0"/>
              <a:t>c</a:t>
            </a:r>
            <a:r>
              <a:rPr lang="en-US" dirty="0"/>
              <a:t>onfidential. Do not </a:t>
            </a:r>
            <a:r>
              <a:rPr lang="id-ID" dirty="0"/>
              <a:t>d</a:t>
            </a:r>
            <a:r>
              <a:rPr lang="en-US" dirty="0"/>
              <a:t>istribute.</a:t>
            </a:r>
          </a:p>
        </p:txBody>
      </p:sp>
      <p:cxnSp>
        <p:nvCxnSpPr>
          <p:cNvPr id="5" name="Straight Connector 4">
            <a:extLst>
              <a:ext uri="{FF2B5EF4-FFF2-40B4-BE49-F238E27FC236}">
                <a16:creationId xmlns:a16="http://schemas.microsoft.com/office/drawing/2014/main" id="{D8844BF8-93B6-754E-A2C6-436DB9956710}"/>
              </a:ext>
            </a:extLst>
          </p:cNvPr>
          <p:cNvCxnSpPr/>
          <p:nvPr userDrawn="1"/>
        </p:nvCxnSpPr>
        <p:spPr>
          <a:xfrm>
            <a:off x="911225" y="6360705"/>
            <a:ext cx="103695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124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199" y="1280377"/>
            <a:ext cx="6455485" cy="4873625"/>
          </a:xfrm>
        </p:spPr>
        <p:txBody>
          <a:bodyPr/>
          <a:lstStyle>
            <a:lvl1pPr marL="514350" indent="-514350">
              <a:spcAft>
                <a:spcPts val="800"/>
              </a:spcAft>
              <a:buFont typeface="+mj-lt"/>
              <a:buAutoNum type="arabicPeriod"/>
              <a:defRPr sz="3200" baseline="0">
                <a:solidFill>
                  <a:srgbClr val="68767E"/>
                </a:solidFill>
              </a:defRPr>
            </a:lvl1pPr>
            <a:lvl2pPr marL="971550" indent="-514350">
              <a:spcAft>
                <a:spcPts val="800"/>
              </a:spcAft>
              <a:buFont typeface="+mj-lt"/>
              <a:buAutoNum type="arabicPeriod"/>
              <a:defRPr sz="2800">
                <a:solidFill>
                  <a:srgbClr val="68767E"/>
                </a:solidFill>
              </a:defRPr>
            </a:lvl2pPr>
            <a:lvl3pPr marL="1371600" indent="-457200">
              <a:spcAft>
                <a:spcPts val="800"/>
              </a:spcAft>
              <a:buFont typeface="+mj-lt"/>
              <a:buAutoNum type="arabicPeriod"/>
              <a:defRPr sz="2400">
                <a:solidFill>
                  <a:srgbClr val="68767E"/>
                </a:solidFill>
              </a:defRPr>
            </a:lvl3pPr>
            <a:lvl4pPr marL="1828800" indent="-457200">
              <a:spcAft>
                <a:spcPts val="800"/>
              </a:spcAft>
              <a:buFont typeface="+mj-lt"/>
              <a:buAutoNum type="arabicPeriod"/>
              <a:defRPr sz="2000">
                <a:solidFill>
                  <a:srgbClr val="68767E"/>
                </a:solidFill>
              </a:defRPr>
            </a:lvl4pPr>
            <a:lvl5pPr marL="2286000" indent="-457200">
              <a:spcAft>
                <a:spcPts val="800"/>
              </a:spcAft>
              <a:buFont typeface="+mj-lt"/>
              <a:buAutoNum type="arabicPeriod"/>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a:lvl1pPr>
          </a:lstStyle>
          <a:p>
            <a:fld id="{0EE03E71-293B-6344-8263-AFCD065EDDF1}"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48475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798950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2" y="1282390"/>
            <a:ext cx="7731235" cy="3280089"/>
          </a:xfrm>
        </p:spPr>
        <p:txBody>
          <a:bodyPr anchor="b"/>
          <a:lstStyle>
            <a:lvl1pPr>
              <a:defRPr sz="6000" spc="-180" baseline="0">
                <a:solidFill>
                  <a:schemeClr val="bg1"/>
                </a:solidFill>
              </a:defRPr>
            </a:lvl1pPr>
          </a:lstStyle>
          <a:p>
            <a:r>
              <a:rPr lang="en-US" dirty="0"/>
              <a:t>ONLY use this slide to divide presentations within the same deck</a:t>
            </a:r>
          </a:p>
        </p:txBody>
      </p:sp>
    </p:spTree>
    <p:extLst>
      <p:ext uri="{BB962C8B-B14F-4D97-AF65-F5344CB8AC3E}">
        <p14:creationId xmlns:p14="http://schemas.microsoft.com/office/powerpoint/2010/main" val="3447858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952120" y="477675"/>
            <a:ext cx="5065286" cy="4885897"/>
          </a:xfrm>
          <a:ln>
            <a:noFill/>
          </a:ln>
          <a:effectLst/>
        </p:spPr>
        <p:txBody>
          <a:bodyPr>
            <a:noAutofit/>
          </a:bodyPr>
          <a:lstStyle>
            <a:lvl1pPr>
              <a:defRPr sz="7200" spc="-300" baseline="0">
                <a:solidFill>
                  <a:schemeClr val="bg1"/>
                </a:solidFill>
                <a:effectLst/>
              </a:defRPr>
            </a:lvl1pPr>
          </a:lstStyle>
          <a:p>
            <a:r>
              <a:rPr lang="en-US" dirty="0"/>
              <a:t>Big Ideas 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12C335A5-FE72-B14C-BC9C-D3E4F3DA3BD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9943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87429"/>
            <a:ext cx="3540826" cy="1600200"/>
          </a:xfrm>
        </p:spPr>
        <p:txBody>
          <a:bodyPr anchor="t"/>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5183188" y="987429"/>
            <a:ext cx="5906570" cy="4873625"/>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A69E0DE4-6844-874D-8312-3E87C09E754D}" type="slidenum">
              <a:rPr lang="uk-UA" altLang="en-US"/>
              <a:pPr/>
              <a:t>‹#›</a:t>
            </a:fld>
            <a:endParaRPr lang="uk-UA" altLang="en-US"/>
          </a:p>
        </p:txBody>
      </p:sp>
      <p:sp>
        <p:nvSpPr>
          <p:cNvPr id="5" name="Footer Placeholder 1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230216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a:t>
            </a:r>
          </a:p>
        </p:txBody>
      </p:sp>
    </p:spTree>
  </p:cSld>
  <p:clrMap bg1="lt1" tx1="dk1" bg2="lt2" tx2="dk2" accent1="accent1" accent2="accent2" accent3="accent3" accent4="accent4" accent5="accent5" accent6="accent6" hlink="hlink" folHlink="folHlink"/>
  <p:sldLayoutIdLst>
    <p:sldLayoutId id="2147483708" r:id="rId1"/>
    <p:sldLayoutId id="2147483728" r:id="rId2"/>
    <p:sldLayoutId id="2147483753" r:id="rId3"/>
    <p:sldLayoutId id="2147483781" r:id="rId4"/>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55325905"/>
      </p:ext>
    </p:extLst>
  </p:cSld>
  <p:clrMap bg1="lt1" tx1="dk1" bg2="lt2" tx2="dk2" accent1="accent1" accent2="accent2" accent3="accent3" accent4="accent4" accent5="accent5" accent6="accent6" hlink="hlink" folHlink="folHlink"/>
  <p:sldLayoutIdLst>
    <p:sldLayoutId id="2147483734" r:id="rId1"/>
    <p:sldLayoutId id="2147483736" r:id="rId2"/>
    <p:sldLayoutId id="2147483740" r:id="rId3"/>
    <p:sldLayoutId id="2147483743" r:id="rId4"/>
    <p:sldLayoutId id="2147483745" r:id="rId5"/>
    <p:sldLayoutId id="2147483750" r:id="rId6"/>
    <p:sldLayoutId id="2147483751" r:id="rId7"/>
    <p:sldLayoutId id="2147483752" r:id="rId8"/>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 HMS INTERNAL ONLY</a:t>
            </a:r>
          </a:p>
        </p:txBody>
      </p:sp>
    </p:spTree>
    <p:extLst>
      <p:ext uri="{BB962C8B-B14F-4D97-AF65-F5344CB8AC3E}">
        <p14:creationId xmlns:p14="http://schemas.microsoft.com/office/powerpoint/2010/main" val="328282480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30.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9.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33.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image" Target="../media/image41.png"/></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44.png"/></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26.xml"/><Relationship Id="rId1" Type="http://schemas.openxmlformats.org/officeDocument/2006/relationships/slideLayout" Target="../slideLayouts/slideLayout6.xml"/><Relationship Id="rId6" Type="http://schemas.openxmlformats.org/officeDocument/2006/relationships/image" Target="../media/image49.svg"/><Relationship Id="rId5" Type="http://schemas.openxmlformats.org/officeDocument/2006/relationships/image" Target="../media/image48.png"/><Relationship Id="rId10" Type="http://schemas.openxmlformats.org/officeDocument/2006/relationships/image" Target="../media/image53.svg"/><Relationship Id="rId4" Type="http://schemas.openxmlformats.org/officeDocument/2006/relationships/image" Target="../media/image47.svg"/><Relationship Id="rId9" Type="http://schemas.openxmlformats.org/officeDocument/2006/relationships/image" Target="../media/image52.png"/></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s://resources.hms.com/state/colorado/rac" TargetMode="External"/><Relationship Id="rId5" Type="http://schemas.openxmlformats.org/officeDocument/2006/relationships/image" Target="../media/image55.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3" Type="http://schemas.openxmlformats.org/officeDocument/2006/relationships/hyperlink" Target="https://resources.hms.com/state/colorado/rac" TargetMode="External"/><Relationship Id="rId2" Type="http://schemas.openxmlformats.org/officeDocument/2006/relationships/notesSlide" Target="../notesSlides/notesSlide29.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4.emf"/><Relationship Id="rId3" Type="http://schemas.openxmlformats.org/officeDocument/2006/relationships/slideLayout" Target="../slideLayouts/slideLayout10.xml"/><Relationship Id="rId7" Type="http://schemas.openxmlformats.org/officeDocument/2006/relationships/image" Target="../media/image29.emf"/><Relationship Id="rId12" Type="http://schemas.openxmlformats.org/officeDocument/2006/relationships/image" Target="../media/image3.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hyperlink" Target="mailto:jason.cooper@hms.com" TargetMode="External"/><Relationship Id="rId5" Type="http://schemas.openxmlformats.org/officeDocument/2006/relationships/image" Target="../media/image56.emf"/><Relationship Id="rId10" Type="http://schemas.openxmlformats.org/officeDocument/2006/relationships/hyperlink" Target="mailto:whitney.chernoff@hms.com" TargetMode="External"/><Relationship Id="rId4" Type="http://schemas.openxmlformats.org/officeDocument/2006/relationships/notesSlide" Target="../notesSlides/notesSlide30.xml"/><Relationship Id="rId9" Type="http://schemas.openxmlformats.org/officeDocument/2006/relationships/image" Target="../media/image58.png"/><Relationship Id="rId14" Type="http://schemas.openxmlformats.org/officeDocument/2006/relationships/image" Target="../media/image5.em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8.xml"/><Relationship Id="rId1" Type="http://schemas.openxmlformats.org/officeDocument/2006/relationships/slideLayout" Target="../slideLayouts/slideLayout6.xml"/><Relationship Id="rId4" Type="http://schemas.openxmlformats.org/officeDocument/2006/relationships/hyperlink" Target="https://hmsportal.hms.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6438" y="1433513"/>
            <a:ext cx="7226279" cy="2373312"/>
          </a:xfrm>
        </p:spPr>
        <p:txBody>
          <a:bodyPr wrap="square" numCol="1" anchorCtr="0" compatLnSpc="1">
            <a:prstTxWarp prst="textNoShape">
              <a:avLst/>
            </a:prstTxWarp>
          </a:bodyPr>
          <a:lstStyle/>
          <a:p>
            <a:r>
              <a:rPr lang="en-US" dirty="0"/>
              <a:t>HMS Clinical Retrospective Review  </a:t>
            </a:r>
            <a:endParaRPr altLang="en-US" dirty="0"/>
          </a:p>
        </p:txBody>
      </p:sp>
      <p:sp>
        <p:nvSpPr>
          <p:cNvPr id="3" name="Text Placeholder 2"/>
          <p:cNvSpPr>
            <a:spLocks noGrp="1"/>
          </p:cNvSpPr>
          <p:nvPr>
            <p:ph type="body" sz="quarter" idx="14"/>
          </p:nvPr>
        </p:nvSpPr>
        <p:spPr>
          <a:xfrm>
            <a:off x="706438" y="3910013"/>
            <a:ext cx="7664450" cy="492125"/>
          </a:xfrm>
        </p:spPr>
        <p:txBody>
          <a:bodyPr wrap="square" numCol="1" anchor="t" anchorCtr="0" compatLnSpc="1">
            <a:prstTxWarp prst="textNoShape">
              <a:avLst/>
            </a:prstTxWarp>
          </a:bodyPr>
          <a:lstStyle/>
          <a:p>
            <a:r>
              <a:rPr lang="en-US" dirty="0"/>
              <a:t>Recovery Audit Complex Review Process </a:t>
            </a:r>
          </a:p>
          <a:p>
            <a:endParaRPr altLang="en-US" dirty="0">
              <a:solidFill>
                <a:srgbClr val="FF6633"/>
              </a:solidFill>
            </a:endParaRPr>
          </a:p>
        </p:txBody>
      </p:sp>
      <p:sp>
        <p:nvSpPr>
          <p:cNvPr id="4" name="Text Placeholder 3"/>
          <p:cNvSpPr>
            <a:spLocks noGrp="1"/>
          </p:cNvSpPr>
          <p:nvPr>
            <p:ph type="body" sz="quarter" idx="15"/>
          </p:nvPr>
        </p:nvSpPr>
        <p:spPr>
          <a:xfrm>
            <a:off x="706438" y="4505325"/>
            <a:ext cx="7664450" cy="492125"/>
          </a:xfrm>
        </p:spPr>
        <p:txBody>
          <a:bodyPr wrap="square" numCol="1" anchor="t" anchorCtr="0" compatLnSpc="1">
            <a:prstTxWarp prst="textNoShape">
              <a:avLst/>
            </a:prstTxWarp>
          </a:bodyPr>
          <a:lstStyle/>
          <a:p>
            <a:r>
              <a:rPr lang="en-US" sz="1600" dirty="0"/>
              <a:t>  </a:t>
            </a:r>
          </a:p>
        </p:txBody>
      </p:sp>
      <p:pic>
        <p:nvPicPr>
          <p:cNvPr id="4098" name="Picture 2" descr="Colorado Department of Health Care Policy &amp; Financ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569" y="118353"/>
            <a:ext cx="8966201"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3">
            <a:extLst>
              <a:ext uri="{FF2B5EF4-FFF2-40B4-BE49-F238E27FC236}">
                <a16:creationId xmlns:a16="http://schemas.microsoft.com/office/drawing/2014/main" id="{8A10D9CD-3ADD-E0B1-AD48-B52EC90F863D}"/>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4DCC0DF-8123-478B-84DC-0DC0BF9E4AC7}"/>
              </a:ext>
            </a:extLst>
          </p:cNvPr>
          <p:cNvSpPr>
            <a:spLocks noGrp="1"/>
          </p:cNvSpPr>
          <p:nvPr>
            <p:ph type="title"/>
          </p:nvPr>
        </p:nvSpPr>
        <p:spPr>
          <a:xfrm>
            <a:off x="831852" y="1282390"/>
            <a:ext cx="8037828" cy="3280089"/>
          </a:xfrm>
        </p:spPr>
        <p:txBody>
          <a:bodyPr/>
          <a:lstStyle/>
          <a:p>
            <a:r>
              <a:rPr lang="en-US" dirty="0"/>
              <a:t>Complex </a:t>
            </a:r>
            <a:br>
              <a:rPr lang="en-US" dirty="0"/>
            </a:br>
            <a:r>
              <a:rPr lang="en-US" dirty="0"/>
              <a:t>Review</a:t>
            </a:r>
          </a:p>
        </p:txBody>
      </p:sp>
      <p:sp>
        <p:nvSpPr>
          <p:cNvPr id="4" name="Slide Number Placeholder 3">
            <a:extLst>
              <a:ext uri="{FF2B5EF4-FFF2-40B4-BE49-F238E27FC236}">
                <a16:creationId xmlns:a16="http://schemas.microsoft.com/office/drawing/2014/main" id="{4CECB870-7AFB-4D8B-846A-1C64BF9428FD}"/>
              </a:ext>
            </a:extLst>
          </p:cNvPr>
          <p:cNvSpPr>
            <a:spLocks noGrp="1"/>
          </p:cNvSpPr>
          <p:nvPr>
            <p:ph type="sldNum" sz="quarter" idx="4294967295"/>
          </p:nvPr>
        </p:nvSpPr>
        <p:spPr>
          <a:xfrm>
            <a:off x="9448800" y="6356350"/>
            <a:ext cx="2743200" cy="365125"/>
          </a:xfrm>
        </p:spPr>
        <p:txBody>
          <a:bodyPr/>
          <a:lstStyle/>
          <a:p>
            <a:fld id="{E1D6E511-78F2-1D4C-8218-60E971E66380}" type="slidenum">
              <a:rPr lang="en-US" altLang="en-US" smtClean="0">
                <a:solidFill>
                  <a:schemeClr val="bg1"/>
                </a:solidFill>
              </a:rPr>
              <a:pPr/>
              <a:t>10</a:t>
            </a:fld>
            <a:endParaRPr lang="en-US" altLang="en-US" dirty="0">
              <a:solidFill>
                <a:schemeClr val="bg1"/>
              </a:solidFill>
            </a:endParaRPr>
          </a:p>
        </p:txBody>
      </p:sp>
      <p:sp>
        <p:nvSpPr>
          <p:cNvPr id="6" name="Footer Placeholder 3">
            <a:extLst>
              <a:ext uri="{FF2B5EF4-FFF2-40B4-BE49-F238E27FC236}">
                <a16:creationId xmlns:a16="http://schemas.microsoft.com/office/drawing/2014/main" id="{89CEA6BE-E28D-46CC-950E-3BE0D276A692}"/>
              </a:ext>
            </a:extLst>
          </p:cNvPr>
          <p:cNvSpPr txBox="1">
            <a:spLocks/>
          </p:cNvSpPr>
          <p:nvPr/>
        </p:nvSpPr>
        <p:spPr>
          <a:xfrm>
            <a:off x="838200" y="6492875"/>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solidFill>
                  <a:schemeClr val="bg1"/>
                </a:solidFill>
              </a:rPr>
              <a:t>HMS a Gainwell Company confidential. Do not Distribute.</a:t>
            </a:r>
          </a:p>
        </p:txBody>
      </p:sp>
    </p:spTree>
    <p:extLst>
      <p:ext uri="{BB962C8B-B14F-4D97-AF65-F5344CB8AC3E}">
        <p14:creationId xmlns:p14="http://schemas.microsoft.com/office/powerpoint/2010/main" val="19758744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A8CB6A9-1378-4559-8BC2-D307FDFF0E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9" name="Object 8" hidden="1">
                        <a:extLst>
                          <a:ext uri="{FF2B5EF4-FFF2-40B4-BE49-F238E27FC236}">
                            <a16:creationId xmlns:a16="http://schemas.microsoft.com/office/drawing/2014/main" id="{9A8CB6A9-1378-4559-8BC2-D307FDFF0E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0E3AD6D-3415-4523-ABC4-0B8602832BAC}"/>
              </a:ext>
            </a:extLst>
          </p:cNvPr>
          <p:cNvSpPr/>
          <p:nvPr>
            <p:custDataLst>
              <p:tags r:id="rId2"/>
            </p:custDataLst>
          </p:nvPr>
        </p:nvSpPr>
        <p:spPr>
          <a:xfrm>
            <a:off x="0" y="0"/>
            <a:ext cx="158750" cy="158750"/>
          </a:xfrm>
          <a:prstGeom prst="rect">
            <a:avLst/>
          </a:prstGeom>
          <a:solidFill>
            <a:schemeClr val="accent4"/>
          </a:solidFill>
        </p:spPr>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8200" y="164307"/>
            <a:ext cx="10162034" cy="1325563"/>
          </a:xfrm>
        </p:spPr>
        <p:txBody>
          <a:bodyPr wrap="square" numCol="1" anchorCtr="0" compatLnSpc="1">
            <a:prstTxWarp prst="textNoShape">
              <a:avLst/>
            </a:prstTxWarp>
            <a:normAutofit/>
          </a:bodyPr>
          <a:lstStyle/>
          <a:p>
            <a:pPr lvl="0" defTabSz="457200" fontAlgn="auto">
              <a:spcAft>
                <a:spcPts val="0"/>
              </a:spcAft>
              <a:defRPr/>
            </a:pPr>
            <a:r>
              <a:rPr lang="en-US" dirty="0">
                <a:latin typeface="Arial" panose="020B0604020202020204"/>
                <a:ea typeface="+mn-ea"/>
                <a:cs typeface="Arial"/>
              </a:rPr>
              <a:t>Complex Review</a:t>
            </a:r>
          </a:p>
        </p:txBody>
      </p:sp>
      <p:sp>
        <p:nvSpPr>
          <p:cNvPr id="3174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A26325C-BA08-BE49-AA5B-92E1B32A45BC}" type="slidenum">
              <a:rPr kumimoji="0" lang="en-US" altLang="en-US" sz="700" b="0" i="0" u="none" strike="noStrike" kern="1200" cap="none" spc="0" normalizeH="0" baseline="0" noProof="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altLang="en-US" sz="700" b="0" i="0" u="none" strike="noStrike" kern="1200" cap="none" spc="0" normalizeH="0" baseline="0" noProof="0">
              <a:ln>
                <a:noFill/>
              </a:ln>
              <a:solidFill>
                <a:srgbClr val="68767E"/>
              </a:solidFill>
              <a:effectLst/>
              <a:uLnTx/>
              <a:uFillTx/>
              <a:latin typeface="Arial" charset="0"/>
              <a:cs typeface="Arial" charset="0"/>
            </a:endParaRPr>
          </a:p>
        </p:txBody>
      </p:sp>
      <p:sp>
        <p:nvSpPr>
          <p:cNvPr id="31748"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11" name="Picture 10" descr="A picture containing person, man, holding, table&#10;&#10;Description automatically generated">
            <a:extLst>
              <a:ext uri="{FF2B5EF4-FFF2-40B4-BE49-F238E27FC236}">
                <a16:creationId xmlns:a16="http://schemas.microsoft.com/office/drawing/2014/main" id="{46320D31-A177-430E-A4E6-6D8D809729F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4775" r="20437"/>
          <a:stretch/>
        </p:blipFill>
        <p:spPr>
          <a:xfrm>
            <a:off x="3176" y="1690688"/>
            <a:ext cx="3947424" cy="4062260"/>
          </a:xfrm>
          <a:prstGeom prst="rect">
            <a:avLst/>
          </a:prstGeom>
        </p:spPr>
      </p:pic>
      <p:sp>
        <p:nvSpPr>
          <p:cNvPr id="16" name="Rectangle 15">
            <a:extLst>
              <a:ext uri="{FF2B5EF4-FFF2-40B4-BE49-F238E27FC236}">
                <a16:creationId xmlns:a16="http://schemas.microsoft.com/office/drawing/2014/main" id="{BEAC857A-3C59-4304-A360-2135601A7F2F}"/>
              </a:ext>
            </a:extLst>
          </p:cNvPr>
          <p:cNvSpPr/>
          <p:nvPr/>
        </p:nvSpPr>
        <p:spPr>
          <a:xfrm>
            <a:off x="4644588" y="1195683"/>
            <a:ext cx="7193627" cy="6124754"/>
          </a:xfrm>
          <a:prstGeom prst="rect">
            <a:avLst/>
          </a:prstGeom>
        </p:spPr>
        <p:txBody>
          <a:bodyPr wrap="square" lIns="0" tIns="0" rIns="0" bIns="0" numCol="1">
            <a:spAutoFit/>
          </a:bodyPr>
          <a:lstStyle/>
          <a:p>
            <a:pPr marL="0" lvl="1">
              <a:spcAft>
                <a:spcPts val="300"/>
              </a:spcAft>
              <a:buClr>
                <a:srgbClr val="58BCD0"/>
              </a:buClr>
              <a:defRPr/>
            </a:pPr>
            <a:r>
              <a:rPr kumimoji="0" lang="en-US" sz="1600" kern="1200" cap="none" spc="0" normalizeH="0" noProof="0" dirty="0">
                <a:ln>
                  <a:noFill/>
                </a:ln>
                <a:solidFill>
                  <a:srgbClr val="67767F"/>
                </a:solidFill>
                <a:uLnTx/>
                <a:uFillTx/>
                <a:latin typeface="+mn-lt"/>
              </a:rPr>
              <a:t>Clinical Claim Reviews combines an exhaustive historical dataset, unparalleled clinical and data science expertise, and industry-leading analytics supported by cutting-edge machine learning technology to deliver a preeminent, comprehensive solution to ensure billing and coding accuracy.​</a:t>
            </a:r>
          </a:p>
          <a:p>
            <a:pPr marL="0" lvl="1">
              <a:spcAft>
                <a:spcPts val="300"/>
              </a:spcAft>
              <a:buClr>
                <a:srgbClr val="58BCD0"/>
              </a:buClr>
              <a:defRPr/>
            </a:pPr>
            <a:endParaRPr kumimoji="0" lang="en-US" sz="1600" kern="1200" cap="none" spc="0" normalizeH="0" noProof="0" dirty="0">
              <a:ln>
                <a:noFill/>
              </a:ln>
              <a:solidFill>
                <a:srgbClr val="67767F"/>
              </a:solidFill>
              <a:uLnTx/>
              <a:uFillTx/>
              <a:latin typeface="+mn-lt"/>
            </a:endParaRPr>
          </a:p>
          <a:p>
            <a:pPr marL="0" lvl="1">
              <a:spcAft>
                <a:spcPts val="300"/>
              </a:spcAft>
              <a:buClr>
                <a:srgbClr val="58BCD0"/>
              </a:buClr>
              <a:defRPr/>
            </a:pPr>
            <a:r>
              <a:rPr kumimoji="0" lang="en-US" sz="1600" kern="1200" cap="none" spc="0" normalizeH="0" noProof="0" dirty="0">
                <a:ln>
                  <a:noFill/>
                </a:ln>
                <a:solidFill>
                  <a:srgbClr val="67767F"/>
                </a:solidFill>
                <a:uLnTx/>
                <a:uFillTx/>
                <a:latin typeface="+mn-lt"/>
              </a:rPr>
              <a:t>Our smart technology identifies inpatient claims that were billed/coded in error with a high degree of accuracy,​ based on an analysis of the claims data elements that drive payment, in comparison to historical outcomes. This data- driven, automated approach ensures only claims with the strongest historical performance and highest likelihood of a billing/coding error receive a request for medical records.</a:t>
            </a:r>
          </a:p>
          <a:p>
            <a:pPr marL="0" lvl="1">
              <a:spcAft>
                <a:spcPts val="300"/>
              </a:spcAft>
              <a:buClr>
                <a:srgbClr val="58BCD0"/>
              </a:buClr>
              <a:defRPr/>
            </a:pPr>
            <a:endParaRPr lang="en-US" sz="1600" dirty="0">
              <a:solidFill>
                <a:srgbClr val="67767F"/>
              </a:solidFill>
              <a:latin typeface="+mn-lt"/>
            </a:endParaRPr>
          </a:p>
          <a:p>
            <a:pPr marL="0" lvl="1">
              <a:spcAft>
                <a:spcPts val="300"/>
              </a:spcAft>
              <a:buClr>
                <a:srgbClr val="58BCD0"/>
              </a:buClr>
              <a:defRPr/>
            </a:pPr>
            <a:r>
              <a:rPr lang="en-US" sz="1600" dirty="0">
                <a:solidFill>
                  <a:srgbClr val="68767E"/>
                </a:solidFill>
              </a:rPr>
              <a:t>Complex Reviews are required when data analysis identifies a potential improper payment that cannot be automatically validated, so a review of supporting documentation is required.</a:t>
            </a:r>
          </a:p>
          <a:p>
            <a:pPr marL="0" lvl="1">
              <a:spcAft>
                <a:spcPts val="300"/>
              </a:spcAft>
              <a:buClr>
                <a:srgbClr val="58BCD0"/>
              </a:buClr>
              <a:defRPr/>
            </a:pPr>
            <a:endParaRPr kumimoji="0" lang="en-US" sz="1600" b="0" i="0" u="none" strike="noStrike" kern="1200" cap="none" spc="0" normalizeH="0" noProof="0" dirty="0">
              <a:ln>
                <a:noFill/>
              </a:ln>
              <a:solidFill>
                <a:srgbClr val="68767E"/>
              </a:solidFill>
              <a:effectLst/>
              <a:uLnTx/>
              <a:uFillTx/>
            </a:endParaRPr>
          </a:p>
          <a:p>
            <a:pPr marL="0" lvl="1">
              <a:spcAft>
                <a:spcPts val="300"/>
              </a:spcAft>
              <a:buClr>
                <a:srgbClr val="58BCD0"/>
              </a:buClr>
              <a:defRPr/>
            </a:pPr>
            <a:r>
              <a:rPr lang="en-US" sz="1600" dirty="0">
                <a:solidFill>
                  <a:srgbClr val="68767E"/>
                </a:solidFill>
              </a:rPr>
              <a:t>Examples:</a:t>
            </a:r>
            <a:endParaRPr kumimoji="0" lang="en-US" sz="1600" b="0" i="0" u="none" strike="noStrike" kern="1200" cap="none" spc="0" normalizeH="0" noProof="0" dirty="0">
              <a:ln>
                <a:noFill/>
              </a:ln>
              <a:solidFill>
                <a:srgbClr val="68767E"/>
              </a:solidFill>
              <a:effectLst/>
              <a:uLnTx/>
              <a:uFillTx/>
            </a:endParaRPr>
          </a:p>
          <a:p>
            <a:pPr marL="0" lvl="1">
              <a:spcAft>
                <a:spcPts val="300"/>
              </a:spcAft>
              <a:buClr>
                <a:srgbClr val="58BCD0"/>
              </a:buClr>
              <a:defRPr/>
            </a:pPr>
            <a:r>
              <a:rPr lang="en-US" sz="1600" dirty="0">
                <a:solidFill>
                  <a:srgbClr val="68767E"/>
                </a:solidFill>
              </a:rPr>
              <a:t>DRG Coding</a:t>
            </a:r>
          </a:p>
          <a:p>
            <a:pPr marL="0" lvl="1">
              <a:spcAft>
                <a:spcPts val="300"/>
              </a:spcAft>
              <a:buClr>
                <a:srgbClr val="58BCD0"/>
              </a:buClr>
              <a:defRPr/>
            </a:pPr>
            <a:r>
              <a:rPr lang="en-US" sz="1600" dirty="0">
                <a:solidFill>
                  <a:srgbClr val="68767E"/>
                </a:solidFill>
              </a:rPr>
              <a:t>Hospice</a:t>
            </a:r>
          </a:p>
          <a:p>
            <a:pPr marL="0" lvl="1">
              <a:spcAft>
                <a:spcPts val="300"/>
              </a:spcAft>
              <a:buClr>
                <a:srgbClr val="58BCD0"/>
              </a:buClr>
              <a:defRPr/>
            </a:pPr>
            <a:r>
              <a:rPr lang="en-US" sz="1600" dirty="0">
                <a:solidFill>
                  <a:srgbClr val="68767E"/>
                </a:solidFill>
              </a:rPr>
              <a:t>Physician Administered Drugs</a:t>
            </a:r>
          </a:p>
          <a:p>
            <a:pPr marL="0" lvl="1">
              <a:spcAft>
                <a:spcPts val="300"/>
              </a:spcAft>
              <a:buClr>
                <a:srgbClr val="58BCD0"/>
              </a:buClr>
              <a:defRPr/>
            </a:pPr>
            <a:endParaRPr kumimoji="0" lang="en-US" sz="1600" kern="1200" cap="none" spc="0" normalizeH="0" noProof="0" dirty="0">
              <a:ln>
                <a:noFill/>
              </a:ln>
              <a:solidFill>
                <a:srgbClr val="67767F"/>
              </a:solidFill>
              <a:uLnTx/>
              <a:uFillTx/>
              <a:latin typeface="+mn-lt"/>
            </a:endParaRPr>
          </a:p>
          <a:p>
            <a:pPr marL="0" lvl="1">
              <a:spcAft>
                <a:spcPts val="300"/>
              </a:spcAft>
              <a:buClr>
                <a:srgbClr val="58BCD0"/>
              </a:buClr>
              <a:defRPr/>
            </a:pPr>
            <a:endParaRPr kumimoji="0" lang="en-US" sz="1600" b="0" i="0" u="none" strike="noStrike" kern="1200" cap="none" spc="0" normalizeH="0" noProof="0" dirty="0">
              <a:ln>
                <a:noFill/>
              </a:ln>
              <a:solidFill>
                <a:srgbClr val="67767F"/>
              </a:solidFill>
              <a:effectLst/>
              <a:uLnTx/>
              <a:uFillTx/>
              <a:latin typeface="+mn-lt"/>
            </a:endParaRPr>
          </a:p>
          <a:p>
            <a:pPr marL="0" lvl="1">
              <a:spcAft>
                <a:spcPts val="300"/>
              </a:spcAft>
              <a:buClr>
                <a:srgbClr val="58BCD0"/>
              </a:buClr>
              <a:defRPr/>
            </a:pPr>
            <a:endParaRPr kumimoji="0" lang="en-US" sz="1600" b="0" i="0" u="none" strike="noStrike" kern="1200" cap="none" spc="0" normalizeH="0" baseline="0" noProof="0" dirty="0">
              <a:ln>
                <a:noFill/>
              </a:ln>
              <a:solidFill>
                <a:srgbClr val="68767E"/>
              </a:solidFill>
              <a:effectLst/>
              <a:uLnTx/>
              <a:uFillTx/>
            </a:endParaRPr>
          </a:p>
        </p:txBody>
      </p:sp>
      <p:sp>
        <p:nvSpPr>
          <p:cNvPr id="19" name="Rectangle 18">
            <a:extLst>
              <a:ext uri="{FF2B5EF4-FFF2-40B4-BE49-F238E27FC236}">
                <a16:creationId xmlns:a16="http://schemas.microsoft.com/office/drawing/2014/main" id="{96A9AF42-893A-4714-AF03-9625C41F3345}"/>
              </a:ext>
            </a:extLst>
          </p:cNvPr>
          <p:cNvSpPr/>
          <p:nvPr/>
        </p:nvSpPr>
        <p:spPr>
          <a:xfrm>
            <a:off x="3176" y="1690688"/>
            <a:ext cx="3947424" cy="4062260"/>
          </a:xfrm>
          <a:prstGeom prst="rect">
            <a:avLst/>
          </a:prstGeom>
          <a:solidFill>
            <a:schemeClr val="tx2">
              <a:lumMod val="75000"/>
              <a:alpha val="80000"/>
            </a:schemeClr>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14" name="Oval 13">
            <a:extLst>
              <a:ext uri="{FF2B5EF4-FFF2-40B4-BE49-F238E27FC236}">
                <a16:creationId xmlns:a16="http://schemas.microsoft.com/office/drawing/2014/main" id="{8F5D1D6C-23C6-408F-9BB3-E7A6725DB1C0}"/>
              </a:ext>
            </a:extLst>
          </p:cNvPr>
          <p:cNvSpPr/>
          <p:nvPr/>
        </p:nvSpPr>
        <p:spPr>
          <a:xfrm>
            <a:off x="3553203" y="2325253"/>
            <a:ext cx="762000" cy="762000"/>
          </a:xfrm>
          <a:prstGeom prst="ellipse">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23" name="Oval 22">
            <a:extLst>
              <a:ext uri="{FF2B5EF4-FFF2-40B4-BE49-F238E27FC236}">
                <a16:creationId xmlns:a16="http://schemas.microsoft.com/office/drawing/2014/main" id="{F48A77E7-C552-45F0-A2BC-4B55B5B35F44}"/>
              </a:ext>
            </a:extLst>
          </p:cNvPr>
          <p:cNvSpPr/>
          <p:nvPr/>
        </p:nvSpPr>
        <p:spPr>
          <a:xfrm>
            <a:off x="3553203" y="4356382"/>
            <a:ext cx="762000" cy="762000"/>
          </a:xfrm>
          <a:prstGeom prst="ellipse">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grpSp>
        <p:nvGrpSpPr>
          <p:cNvPr id="25" name="Group 24">
            <a:extLst>
              <a:ext uri="{FF2B5EF4-FFF2-40B4-BE49-F238E27FC236}">
                <a16:creationId xmlns:a16="http://schemas.microsoft.com/office/drawing/2014/main" id="{E116327B-CC71-4DD6-B3B8-A45259CE0301}"/>
              </a:ext>
            </a:extLst>
          </p:cNvPr>
          <p:cNvGrpSpPr/>
          <p:nvPr/>
        </p:nvGrpSpPr>
        <p:grpSpPr>
          <a:xfrm>
            <a:off x="3754022" y="2526072"/>
            <a:ext cx="360363" cy="360363"/>
            <a:chOff x="8435975" y="2536825"/>
            <a:chExt cx="360363" cy="360363"/>
          </a:xfrm>
          <a:solidFill>
            <a:schemeClr val="bg1"/>
          </a:solidFill>
        </p:grpSpPr>
        <p:sp>
          <p:nvSpPr>
            <p:cNvPr id="26" name="Freeform 135">
              <a:extLst>
                <a:ext uri="{FF2B5EF4-FFF2-40B4-BE49-F238E27FC236}">
                  <a16:creationId xmlns:a16="http://schemas.microsoft.com/office/drawing/2014/main" id="{09692180-F583-4CA0-85AF-437D02529FB1}"/>
                </a:ext>
              </a:extLst>
            </p:cNvPr>
            <p:cNvSpPr>
              <a:spLocks noEditPoints="1"/>
            </p:cNvSpPr>
            <p:nvPr/>
          </p:nvSpPr>
          <p:spPr bwMode="auto">
            <a:xfrm>
              <a:off x="8555038" y="2536825"/>
              <a:ext cx="241300" cy="239713"/>
            </a:xfrm>
            <a:custGeom>
              <a:avLst/>
              <a:gdLst>
                <a:gd name="T0" fmla="*/ 450 w 1059"/>
                <a:gd name="T1" fmla="*/ 1052 h 1058"/>
                <a:gd name="T2" fmla="*/ 324 w 1059"/>
                <a:gd name="T3" fmla="*/ 1017 h 1058"/>
                <a:gd name="T4" fmla="*/ 214 w 1059"/>
                <a:gd name="T5" fmla="*/ 954 h 1058"/>
                <a:gd name="T6" fmla="*/ 121 w 1059"/>
                <a:gd name="T7" fmla="*/ 866 h 1058"/>
                <a:gd name="T8" fmla="*/ 53 w 1059"/>
                <a:gd name="T9" fmla="*/ 759 h 1058"/>
                <a:gd name="T10" fmla="*/ 12 w 1059"/>
                <a:gd name="T11" fmla="*/ 636 h 1058"/>
                <a:gd name="T12" fmla="*/ 0 w 1059"/>
                <a:gd name="T13" fmla="*/ 529 h 1058"/>
                <a:gd name="T14" fmla="*/ 17 w 1059"/>
                <a:gd name="T15" fmla="*/ 397 h 1058"/>
                <a:gd name="T16" fmla="*/ 65 w 1059"/>
                <a:gd name="T17" fmla="*/ 278 h 1058"/>
                <a:gd name="T18" fmla="*/ 138 w 1059"/>
                <a:gd name="T19" fmla="*/ 174 h 1058"/>
                <a:gd name="T20" fmla="*/ 234 w 1059"/>
                <a:gd name="T21" fmla="*/ 90 h 1058"/>
                <a:gd name="T22" fmla="*/ 348 w 1059"/>
                <a:gd name="T23" fmla="*/ 32 h 1058"/>
                <a:gd name="T24" fmla="*/ 475 w 1059"/>
                <a:gd name="T25" fmla="*/ 2 h 1058"/>
                <a:gd name="T26" fmla="*/ 584 w 1059"/>
                <a:gd name="T27" fmla="*/ 2 h 1058"/>
                <a:gd name="T28" fmla="*/ 711 w 1059"/>
                <a:gd name="T29" fmla="*/ 32 h 1058"/>
                <a:gd name="T30" fmla="*/ 825 w 1059"/>
                <a:gd name="T31" fmla="*/ 90 h 1058"/>
                <a:gd name="T32" fmla="*/ 921 w 1059"/>
                <a:gd name="T33" fmla="*/ 174 h 1058"/>
                <a:gd name="T34" fmla="*/ 995 w 1059"/>
                <a:gd name="T35" fmla="*/ 278 h 1058"/>
                <a:gd name="T36" fmla="*/ 1041 w 1059"/>
                <a:gd name="T37" fmla="*/ 397 h 1058"/>
                <a:gd name="T38" fmla="*/ 1059 w 1059"/>
                <a:gd name="T39" fmla="*/ 529 h 1058"/>
                <a:gd name="T40" fmla="*/ 1048 w 1059"/>
                <a:gd name="T41" fmla="*/ 636 h 1058"/>
                <a:gd name="T42" fmla="*/ 1006 w 1059"/>
                <a:gd name="T43" fmla="*/ 759 h 1058"/>
                <a:gd name="T44" fmla="*/ 938 w 1059"/>
                <a:gd name="T45" fmla="*/ 866 h 1058"/>
                <a:gd name="T46" fmla="*/ 846 w 1059"/>
                <a:gd name="T47" fmla="*/ 954 h 1058"/>
                <a:gd name="T48" fmla="*/ 735 w 1059"/>
                <a:gd name="T49" fmla="*/ 1017 h 1058"/>
                <a:gd name="T50" fmla="*/ 610 w 1059"/>
                <a:gd name="T51" fmla="*/ 1052 h 1058"/>
                <a:gd name="T52" fmla="*/ 529 w 1059"/>
                <a:gd name="T53" fmla="*/ 66 h 1058"/>
                <a:gd name="T54" fmla="*/ 436 w 1059"/>
                <a:gd name="T55" fmla="*/ 76 h 1058"/>
                <a:gd name="T56" fmla="*/ 329 w 1059"/>
                <a:gd name="T57" fmla="*/ 112 h 1058"/>
                <a:gd name="T58" fmla="*/ 235 w 1059"/>
                <a:gd name="T59" fmla="*/ 172 h 1058"/>
                <a:gd name="T60" fmla="*/ 159 w 1059"/>
                <a:gd name="T61" fmla="*/ 253 h 1058"/>
                <a:gd name="T62" fmla="*/ 103 w 1059"/>
                <a:gd name="T63" fmla="*/ 349 h 1058"/>
                <a:gd name="T64" fmla="*/ 72 w 1059"/>
                <a:gd name="T65" fmla="*/ 459 h 1058"/>
                <a:gd name="T66" fmla="*/ 68 w 1059"/>
                <a:gd name="T67" fmla="*/ 553 h 1058"/>
                <a:gd name="T68" fmla="*/ 87 w 1059"/>
                <a:gd name="T69" fmla="*/ 667 h 1058"/>
                <a:gd name="T70" fmla="*/ 134 w 1059"/>
                <a:gd name="T71" fmla="*/ 770 h 1058"/>
                <a:gd name="T72" fmla="*/ 202 w 1059"/>
                <a:gd name="T73" fmla="*/ 857 h 1058"/>
                <a:gd name="T74" fmla="*/ 290 w 1059"/>
                <a:gd name="T75" fmla="*/ 926 h 1058"/>
                <a:gd name="T76" fmla="*/ 393 w 1059"/>
                <a:gd name="T77" fmla="*/ 971 h 1058"/>
                <a:gd name="T78" fmla="*/ 505 w 1059"/>
                <a:gd name="T79" fmla="*/ 992 h 1058"/>
                <a:gd name="T80" fmla="*/ 600 w 1059"/>
                <a:gd name="T81" fmla="*/ 987 h 1058"/>
                <a:gd name="T82" fmla="*/ 709 w 1059"/>
                <a:gd name="T83" fmla="*/ 956 h 1058"/>
                <a:gd name="T84" fmla="*/ 807 w 1059"/>
                <a:gd name="T85" fmla="*/ 900 h 1058"/>
                <a:gd name="T86" fmla="*/ 886 w 1059"/>
                <a:gd name="T87" fmla="*/ 823 h 1058"/>
                <a:gd name="T88" fmla="*/ 947 w 1059"/>
                <a:gd name="T89" fmla="*/ 730 h 1058"/>
                <a:gd name="T90" fmla="*/ 984 w 1059"/>
                <a:gd name="T91" fmla="*/ 622 h 1058"/>
                <a:gd name="T92" fmla="*/ 993 w 1059"/>
                <a:gd name="T93" fmla="*/ 529 h 1058"/>
                <a:gd name="T94" fmla="*/ 978 w 1059"/>
                <a:gd name="T95" fmla="*/ 413 h 1058"/>
                <a:gd name="T96" fmla="*/ 937 w 1059"/>
                <a:gd name="T97" fmla="*/ 309 h 1058"/>
                <a:gd name="T98" fmla="*/ 872 w 1059"/>
                <a:gd name="T99" fmla="*/ 217 h 1058"/>
                <a:gd name="T100" fmla="*/ 788 w 1059"/>
                <a:gd name="T101" fmla="*/ 145 h 1058"/>
                <a:gd name="T102" fmla="*/ 689 w 1059"/>
                <a:gd name="T103" fmla="*/ 94 h 1058"/>
                <a:gd name="T104" fmla="*/ 577 w 1059"/>
                <a:gd name="T105" fmla="*/ 6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1058">
                  <a:moveTo>
                    <a:pt x="529" y="1058"/>
                  </a:moveTo>
                  <a:lnTo>
                    <a:pt x="529" y="1058"/>
                  </a:lnTo>
                  <a:lnTo>
                    <a:pt x="502" y="1058"/>
                  </a:lnTo>
                  <a:lnTo>
                    <a:pt x="475" y="1056"/>
                  </a:lnTo>
                  <a:lnTo>
                    <a:pt x="450" y="1052"/>
                  </a:lnTo>
                  <a:lnTo>
                    <a:pt x="423" y="1048"/>
                  </a:lnTo>
                  <a:lnTo>
                    <a:pt x="398" y="1042"/>
                  </a:lnTo>
                  <a:lnTo>
                    <a:pt x="373" y="1035"/>
                  </a:lnTo>
                  <a:lnTo>
                    <a:pt x="348" y="1026"/>
                  </a:lnTo>
                  <a:lnTo>
                    <a:pt x="324" y="1017"/>
                  </a:lnTo>
                  <a:lnTo>
                    <a:pt x="301" y="1007"/>
                  </a:lnTo>
                  <a:lnTo>
                    <a:pt x="278" y="995"/>
                  </a:lnTo>
                  <a:lnTo>
                    <a:pt x="255" y="982"/>
                  </a:lnTo>
                  <a:lnTo>
                    <a:pt x="234" y="968"/>
                  </a:lnTo>
                  <a:lnTo>
                    <a:pt x="214" y="954"/>
                  </a:lnTo>
                  <a:lnTo>
                    <a:pt x="193" y="937"/>
                  </a:lnTo>
                  <a:lnTo>
                    <a:pt x="174" y="921"/>
                  </a:lnTo>
                  <a:lnTo>
                    <a:pt x="156" y="903"/>
                  </a:lnTo>
                  <a:lnTo>
                    <a:pt x="138" y="885"/>
                  </a:lnTo>
                  <a:lnTo>
                    <a:pt x="121" y="866"/>
                  </a:lnTo>
                  <a:lnTo>
                    <a:pt x="106" y="846"/>
                  </a:lnTo>
                  <a:lnTo>
                    <a:pt x="91" y="825"/>
                  </a:lnTo>
                  <a:lnTo>
                    <a:pt x="77" y="804"/>
                  </a:lnTo>
                  <a:lnTo>
                    <a:pt x="65" y="782"/>
                  </a:lnTo>
                  <a:lnTo>
                    <a:pt x="53" y="759"/>
                  </a:lnTo>
                  <a:lnTo>
                    <a:pt x="42" y="735"/>
                  </a:lnTo>
                  <a:lnTo>
                    <a:pt x="32" y="712"/>
                  </a:lnTo>
                  <a:lnTo>
                    <a:pt x="24" y="687"/>
                  </a:lnTo>
                  <a:lnTo>
                    <a:pt x="17" y="662"/>
                  </a:lnTo>
                  <a:lnTo>
                    <a:pt x="12" y="636"/>
                  </a:lnTo>
                  <a:lnTo>
                    <a:pt x="7" y="610"/>
                  </a:lnTo>
                  <a:lnTo>
                    <a:pt x="4" y="583"/>
                  </a:lnTo>
                  <a:lnTo>
                    <a:pt x="1" y="556"/>
                  </a:lnTo>
                  <a:lnTo>
                    <a:pt x="0" y="529"/>
                  </a:lnTo>
                  <a:lnTo>
                    <a:pt x="0" y="529"/>
                  </a:lnTo>
                  <a:lnTo>
                    <a:pt x="1" y="502"/>
                  </a:lnTo>
                  <a:lnTo>
                    <a:pt x="4" y="475"/>
                  </a:lnTo>
                  <a:lnTo>
                    <a:pt x="7" y="448"/>
                  </a:lnTo>
                  <a:lnTo>
                    <a:pt x="12" y="423"/>
                  </a:lnTo>
                  <a:lnTo>
                    <a:pt x="17" y="397"/>
                  </a:lnTo>
                  <a:lnTo>
                    <a:pt x="24" y="372"/>
                  </a:lnTo>
                  <a:lnTo>
                    <a:pt x="32" y="347"/>
                  </a:lnTo>
                  <a:lnTo>
                    <a:pt x="42" y="323"/>
                  </a:lnTo>
                  <a:lnTo>
                    <a:pt x="53" y="300"/>
                  </a:lnTo>
                  <a:lnTo>
                    <a:pt x="65" y="278"/>
                  </a:lnTo>
                  <a:lnTo>
                    <a:pt x="77" y="255"/>
                  </a:lnTo>
                  <a:lnTo>
                    <a:pt x="91" y="233"/>
                  </a:lnTo>
                  <a:lnTo>
                    <a:pt x="106" y="212"/>
                  </a:lnTo>
                  <a:lnTo>
                    <a:pt x="121" y="193"/>
                  </a:lnTo>
                  <a:lnTo>
                    <a:pt x="138" y="174"/>
                  </a:lnTo>
                  <a:lnTo>
                    <a:pt x="156" y="155"/>
                  </a:lnTo>
                  <a:lnTo>
                    <a:pt x="174" y="138"/>
                  </a:lnTo>
                  <a:lnTo>
                    <a:pt x="193" y="121"/>
                  </a:lnTo>
                  <a:lnTo>
                    <a:pt x="214" y="106"/>
                  </a:lnTo>
                  <a:lnTo>
                    <a:pt x="234" y="90"/>
                  </a:lnTo>
                  <a:lnTo>
                    <a:pt x="255" y="77"/>
                  </a:lnTo>
                  <a:lnTo>
                    <a:pt x="278" y="64"/>
                  </a:lnTo>
                  <a:lnTo>
                    <a:pt x="301" y="52"/>
                  </a:lnTo>
                  <a:lnTo>
                    <a:pt x="324" y="41"/>
                  </a:lnTo>
                  <a:lnTo>
                    <a:pt x="348" y="32"/>
                  </a:lnTo>
                  <a:lnTo>
                    <a:pt x="373" y="24"/>
                  </a:lnTo>
                  <a:lnTo>
                    <a:pt x="398" y="17"/>
                  </a:lnTo>
                  <a:lnTo>
                    <a:pt x="423" y="10"/>
                  </a:lnTo>
                  <a:lnTo>
                    <a:pt x="450" y="6"/>
                  </a:lnTo>
                  <a:lnTo>
                    <a:pt x="475" y="2"/>
                  </a:lnTo>
                  <a:lnTo>
                    <a:pt x="502" y="1"/>
                  </a:lnTo>
                  <a:lnTo>
                    <a:pt x="529" y="0"/>
                  </a:lnTo>
                  <a:lnTo>
                    <a:pt x="529" y="0"/>
                  </a:lnTo>
                  <a:lnTo>
                    <a:pt x="557" y="1"/>
                  </a:lnTo>
                  <a:lnTo>
                    <a:pt x="584" y="2"/>
                  </a:lnTo>
                  <a:lnTo>
                    <a:pt x="610" y="6"/>
                  </a:lnTo>
                  <a:lnTo>
                    <a:pt x="636" y="10"/>
                  </a:lnTo>
                  <a:lnTo>
                    <a:pt x="662" y="17"/>
                  </a:lnTo>
                  <a:lnTo>
                    <a:pt x="687" y="24"/>
                  </a:lnTo>
                  <a:lnTo>
                    <a:pt x="711" y="32"/>
                  </a:lnTo>
                  <a:lnTo>
                    <a:pt x="735" y="41"/>
                  </a:lnTo>
                  <a:lnTo>
                    <a:pt x="759" y="52"/>
                  </a:lnTo>
                  <a:lnTo>
                    <a:pt x="782" y="64"/>
                  </a:lnTo>
                  <a:lnTo>
                    <a:pt x="803" y="77"/>
                  </a:lnTo>
                  <a:lnTo>
                    <a:pt x="825" y="90"/>
                  </a:lnTo>
                  <a:lnTo>
                    <a:pt x="846" y="106"/>
                  </a:lnTo>
                  <a:lnTo>
                    <a:pt x="866" y="121"/>
                  </a:lnTo>
                  <a:lnTo>
                    <a:pt x="885" y="138"/>
                  </a:lnTo>
                  <a:lnTo>
                    <a:pt x="904" y="155"/>
                  </a:lnTo>
                  <a:lnTo>
                    <a:pt x="921" y="174"/>
                  </a:lnTo>
                  <a:lnTo>
                    <a:pt x="938" y="193"/>
                  </a:lnTo>
                  <a:lnTo>
                    <a:pt x="954" y="212"/>
                  </a:lnTo>
                  <a:lnTo>
                    <a:pt x="968" y="233"/>
                  </a:lnTo>
                  <a:lnTo>
                    <a:pt x="981" y="255"/>
                  </a:lnTo>
                  <a:lnTo>
                    <a:pt x="995" y="278"/>
                  </a:lnTo>
                  <a:lnTo>
                    <a:pt x="1006" y="300"/>
                  </a:lnTo>
                  <a:lnTo>
                    <a:pt x="1017" y="323"/>
                  </a:lnTo>
                  <a:lnTo>
                    <a:pt x="1027" y="347"/>
                  </a:lnTo>
                  <a:lnTo>
                    <a:pt x="1035" y="372"/>
                  </a:lnTo>
                  <a:lnTo>
                    <a:pt x="1041" y="397"/>
                  </a:lnTo>
                  <a:lnTo>
                    <a:pt x="1048" y="423"/>
                  </a:lnTo>
                  <a:lnTo>
                    <a:pt x="1053" y="448"/>
                  </a:lnTo>
                  <a:lnTo>
                    <a:pt x="1056" y="475"/>
                  </a:lnTo>
                  <a:lnTo>
                    <a:pt x="1058" y="502"/>
                  </a:lnTo>
                  <a:lnTo>
                    <a:pt x="1059" y="529"/>
                  </a:lnTo>
                  <a:lnTo>
                    <a:pt x="1059" y="529"/>
                  </a:lnTo>
                  <a:lnTo>
                    <a:pt x="1058" y="556"/>
                  </a:lnTo>
                  <a:lnTo>
                    <a:pt x="1056" y="583"/>
                  </a:lnTo>
                  <a:lnTo>
                    <a:pt x="1053" y="610"/>
                  </a:lnTo>
                  <a:lnTo>
                    <a:pt x="1048" y="636"/>
                  </a:lnTo>
                  <a:lnTo>
                    <a:pt x="1041" y="662"/>
                  </a:lnTo>
                  <a:lnTo>
                    <a:pt x="1035" y="687"/>
                  </a:lnTo>
                  <a:lnTo>
                    <a:pt x="1027" y="712"/>
                  </a:lnTo>
                  <a:lnTo>
                    <a:pt x="1017" y="735"/>
                  </a:lnTo>
                  <a:lnTo>
                    <a:pt x="1006" y="759"/>
                  </a:lnTo>
                  <a:lnTo>
                    <a:pt x="995" y="782"/>
                  </a:lnTo>
                  <a:lnTo>
                    <a:pt x="981" y="804"/>
                  </a:lnTo>
                  <a:lnTo>
                    <a:pt x="968" y="825"/>
                  </a:lnTo>
                  <a:lnTo>
                    <a:pt x="954" y="846"/>
                  </a:lnTo>
                  <a:lnTo>
                    <a:pt x="938" y="866"/>
                  </a:lnTo>
                  <a:lnTo>
                    <a:pt x="921" y="885"/>
                  </a:lnTo>
                  <a:lnTo>
                    <a:pt x="904" y="903"/>
                  </a:lnTo>
                  <a:lnTo>
                    <a:pt x="885" y="921"/>
                  </a:lnTo>
                  <a:lnTo>
                    <a:pt x="866" y="937"/>
                  </a:lnTo>
                  <a:lnTo>
                    <a:pt x="846" y="954"/>
                  </a:lnTo>
                  <a:lnTo>
                    <a:pt x="825" y="968"/>
                  </a:lnTo>
                  <a:lnTo>
                    <a:pt x="803" y="982"/>
                  </a:lnTo>
                  <a:lnTo>
                    <a:pt x="782" y="995"/>
                  </a:lnTo>
                  <a:lnTo>
                    <a:pt x="759" y="1007"/>
                  </a:lnTo>
                  <a:lnTo>
                    <a:pt x="735" y="1017"/>
                  </a:lnTo>
                  <a:lnTo>
                    <a:pt x="711" y="1026"/>
                  </a:lnTo>
                  <a:lnTo>
                    <a:pt x="687" y="1035"/>
                  </a:lnTo>
                  <a:lnTo>
                    <a:pt x="662" y="1042"/>
                  </a:lnTo>
                  <a:lnTo>
                    <a:pt x="636" y="1048"/>
                  </a:lnTo>
                  <a:lnTo>
                    <a:pt x="610" y="1052"/>
                  </a:lnTo>
                  <a:lnTo>
                    <a:pt x="584" y="1056"/>
                  </a:lnTo>
                  <a:lnTo>
                    <a:pt x="557" y="1058"/>
                  </a:lnTo>
                  <a:lnTo>
                    <a:pt x="529" y="1058"/>
                  </a:lnTo>
                  <a:lnTo>
                    <a:pt x="529" y="1058"/>
                  </a:lnTo>
                  <a:close/>
                  <a:moveTo>
                    <a:pt x="529" y="66"/>
                  </a:moveTo>
                  <a:lnTo>
                    <a:pt x="529" y="66"/>
                  </a:lnTo>
                  <a:lnTo>
                    <a:pt x="505" y="66"/>
                  </a:lnTo>
                  <a:lnTo>
                    <a:pt x="483" y="68"/>
                  </a:lnTo>
                  <a:lnTo>
                    <a:pt x="459" y="71"/>
                  </a:lnTo>
                  <a:lnTo>
                    <a:pt x="436" y="76"/>
                  </a:lnTo>
                  <a:lnTo>
                    <a:pt x="414" y="81"/>
                  </a:lnTo>
                  <a:lnTo>
                    <a:pt x="393" y="87"/>
                  </a:lnTo>
                  <a:lnTo>
                    <a:pt x="371" y="94"/>
                  </a:lnTo>
                  <a:lnTo>
                    <a:pt x="349" y="103"/>
                  </a:lnTo>
                  <a:lnTo>
                    <a:pt x="329" y="112"/>
                  </a:lnTo>
                  <a:lnTo>
                    <a:pt x="309" y="122"/>
                  </a:lnTo>
                  <a:lnTo>
                    <a:pt x="290" y="134"/>
                  </a:lnTo>
                  <a:lnTo>
                    <a:pt x="270" y="145"/>
                  </a:lnTo>
                  <a:lnTo>
                    <a:pt x="253" y="158"/>
                  </a:lnTo>
                  <a:lnTo>
                    <a:pt x="235" y="172"/>
                  </a:lnTo>
                  <a:lnTo>
                    <a:pt x="219" y="186"/>
                  </a:lnTo>
                  <a:lnTo>
                    <a:pt x="202" y="202"/>
                  </a:lnTo>
                  <a:lnTo>
                    <a:pt x="187" y="217"/>
                  </a:lnTo>
                  <a:lnTo>
                    <a:pt x="172" y="235"/>
                  </a:lnTo>
                  <a:lnTo>
                    <a:pt x="159" y="253"/>
                  </a:lnTo>
                  <a:lnTo>
                    <a:pt x="146" y="270"/>
                  </a:lnTo>
                  <a:lnTo>
                    <a:pt x="134" y="289"/>
                  </a:lnTo>
                  <a:lnTo>
                    <a:pt x="123" y="309"/>
                  </a:lnTo>
                  <a:lnTo>
                    <a:pt x="112" y="328"/>
                  </a:lnTo>
                  <a:lnTo>
                    <a:pt x="103" y="349"/>
                  </a:lnTo>
                  <a:lnTo>
                    <a:pt x="95" y="370"/>
                  </a:lnTo>
                  <a:lnTo>
                    <a:pt x="87" y="391"/>
                  </a:lnTo>
                  <a:lnTo>
                    <a:pt x="81" y="413"/>
                  </a:lnTo>
                  <a:lnTo>
                    <a:pt x="76" y="436"/>
                  </a:lnTo>
                  <a:lnTo>
                    <a:pt x="72" y="459"/>
                  </a:lnTo>
                  <a:lnTo>
                    <a:pt x="69" y="482"/>
                  </a:lnTo>
                  <a:lnTo>
                    <a:pt x="68" y="505"/>
                  </a:lnTo>
                  <a:lnTo>
                    <a:pt x="67" y="529"/>
                  </a:lnTo>
                  <a:lnTo>
                    <a:pt x="67" y="529"/>
                  </a:lnTo>
                  <a:lnTo>
                    <a:pt x="68" y="553"/>
                  </a:lnTo>
                  <a:lnTo>
                    <a:pt x="69" y="577"/>
                  </a:lnTo>
                  <a:lnTo>
                    <a:pt x="72" y="600"/>
                  </a:lnTo>
                  <a:lnTo>
                    <a:pt x="76" y="622"/>
                  </a:lnTo>
                  <a:lnTo>
                    <a:pt x="81" y="645"/>
                  </a:lnTo>
                  <a:lnTo>
                    <a:pt x="87" y="667"/>
                  </a:lnTo>
                  <a:lnTo>
                    <a:pt x="95" y="689"/>
                  </a:lnTo>
                  <a:lnTo>
                    <a:pt x="103" y="709"/>
                  </a:lnTo>
                  <a:lnTo>
                    <a:pt x="112" y="730"/>
                  </a:lnTo>
                  <a:lnTo>
                    <a:pt x="123" y="750"/>
                  </a:lnTo>
                  <a:lnTo>
                    <a:pt x="134" y="770"/>
                  </a:lnTo>
                  <a:lnTo>
                    <a:pt x="146" y="788"/>
                  </a:lnTo>
                  <a:lnTo>
                    <a:pt x="159" y="807"/>
                  </a:lnTo>
                  <a:lnTo>
                    <a:pt x="172" y="823"/>
                  </a:lnTo>
                  <a:lnTo>
                    <a:pt x="187" y="841"/>
                  </a:lnTo>
                  <a:lnTo>
                    <a:pt x="202" y="857"/>
                  </a:lnTo>
                  <a:lnTo>
                    <a:pt x="219" y="872"/>
                  </a:lnTo>
                  <a:lnTo>
                    <a:pt x="235" y="887"/>
                  </a:lnTo>
                  <a:lnTo>
                    <a:pt x="253" y="900"/>
                  </a:lnTo>
                  <a:lnTo>
                    <a:pt x="270" y="913"/>
                  </a:lnTo>
                  <a:lnTo>
                    <a:pt x="290" y="926"/>
                  </a:lnTo>
                  <a:lnTo>
                    <a:pt x="309" y="936"/>
                  </a:lnTo>
                  <a:lnTo>
                    <a:pt x="329" y="947"/>
                  </a:lnTo>
                  <a:lnTo>
                    <a:pt x="349" y="956"/>
                  </a:lnTo>
                  <a:lnTo>
                    <a:pt x="371" y="964"/>
                  </a:lnTo>
                  <a:lnTo>
                    <a:pt x="393" y="971"/>
                  </a:lnTo>
                  <a:lnTo>
                    <a:pt x="414" y="978"/>
                  </a:lnTo>
                  <a:lnTo>
                    <a:pt x="436" y="983"/>
                  </a:lnTo>
                  <a:lnTo>
                    <a:pt x="459" y="987"/>
                  </a:lnTo>
                  <a:lnTo>
                    <a:pt x="483" y="990"/>
                  </a:lnTo>
                  <a:lnTo>
                    <a:pt x="505" y="992"/>
                  </a:lnTo>
                  <a:lnTo>
                    <a:pt x="529" y="992"/>
                  </a:lnTo>
                  <a:lnTo>
                    <a:pt x="529" y="992"/>
                  </a:lnTo>
                  <a:lnTo>
                    <a:pt x="553" y="992"/>
                  </a:lnTo>
                  <a:lnTo>
                    <a:pt x="577" y="990"/>
                  </a:lnTo>
                  <a:lnTo>
                    <a:pt x="600" y="987"/>
                  </a:lnTo>
                  <a:lnTo>
                    <a:pt x="622" y="983"/>
                  </a:lnTo>
                  <a:lnTo>
                    <a:pt x="645" y="978"/>
                  </a:lnTo>
                  <a:lnTo>
                    <a:pt x="667" y="971"/>
                  </a:lnTo>
                  <a:lnTo>
                    <a:pt x="689" y="964"/>
                  </a:lnTo>
                  <a:lnTo>
                    <a:pt x="709" y="956"/>
                  </a:lnTo>
                  <a:lnTo>
                    <a:pt x="730" y="947"/>
                  </a:lnTo>
                  <a:lnTo>
                    <a:pt x="750" y="936"/>
                  </a:lnTo>
                  <a:lnTo>
                    <a:pt x="769" y="926"/>
                  </a:lnTo>
                  <a:lnTo>
                    <a:pt x="788" y="913"/>
                  </a:lnTo>
                  <a:lnTo>
                    <a:pt x="807" y="900"/>
                  </a:lnTo>
                  <a:lnTo>
                    <a:pt x="824" y="887"/>
                  </a:lnTo>
                  <a:lnTo>
                    <a:pt x="841" y="872"/>
                  </a:lnTo>
                  <a:lnTo>
                    <a:pt x="857" y="857"/>
                  </a:lnTo>
                  <a:lnTo>
                    <a:pt x="872" y="841"/>
                  </a:lnTo>
                  <a:lnTo>
                    <a:pt x="886" y="823"/>
                  </a:lnTo>
                  <a:lnTo>
                    <a:pt x="901" y="807"/>
                  </a:lnTo>
                  <a:lnTo>
                    <a:pt x="913" y="788"/>
                  </a:lnTo>
                  <a:lnTo>
                    <a:pt x="926" y="770"/>
                  </a:lnTo>
                  <a:lnTo>
                    <a:pt x="937" y="750"/>
                  </a:lnTo>
                  <a:lnTo>
                    <a:pt x="947" y="730"/>
                  </a:lnTo>
                  <a:lnTo>
                    <a:pt x="956" y="709"/>
                  </a:lnTo>
                  <a:lnTo>
                    <a:pt x="965" y="689"/>
                  </a:lnTo>
                  <a:lnTo>
                    <a:pt x="972" y="667"/>
                  </a:lnTo>
                  <a:lnTo>
                    <a:pt x="978" y="645"/>
                  </a:lnTo>
                  <a:lnTo>
                    <a:pt x="984" y="622"/>
                  </a:lnTo>
                  <a:lnTo>
                    <a:pt x="988" y="600"/>
                  </a:lnTo>
                  <a:lnTo>
                    <a:pt x="990" y="577"/>
                  </a:lnTo>
                  <a:lnTo>
                    <a:pt x="992" y="553"/>
                  </a:lnTo>
                  <a:lnTo>
                    <a:pt x="993" y="529"/>
                  </a:lnTo>
                  <a:lnTo>
                    <a:pt x="993" y="529"/>
                  </a:lnTo>
                  <a:lnTo>
                    <a:pt x="992" y="505"/>
                  </a:lnTo>
                  <a:lnTo>
                    <a:pt x="990" y="482"/>
                  </a:lnTo>
                  <a:lnTo>
                    <a:pt x="988" y="459"/>
                  </a:lnTo>
                  <a:lnTo>
                    <a:pt x="984" y="436"/>
                  </a:lnTo>
                  <a:lnTo>
                    <a:pt x="978" y="413"/>
                  </a:lnTo>
                  <a:lnTo>
                    <a:pt x="972" y="391"/>
                  </a:lnTo>
                  <a:lnTo>
                    <a:pt x="965" y="370"/>
                  </a:lnTo>
                  <a:lnTo>
                    <a:pt x="956" y="349"/>
                  </a:lnTo>
                  <a:lnTo>
                    <a:pt x="947" y="328"/>
                  </a:lnTo>
                  <a:lnTo>
                    <a:pt x="937" y="309"/>
                  </a:lnTo>
                  <a:lnTo>
                    <a:pt x="926" y="289"/>
                  </a:lnTo>
                  <a:lnTo>
                    <a:pt x="913" y="270"/>
                  </a:lnTo>
                  <a:lnTo>
                    <a:pt x="901" y="253"/>
                  </a:lnTo>
                  <a:lnTo>
                    <a:pt x="886" y="235"/>
                  </a:lnTo>
                  <a:lnTo>
                    <a:pt x="872" y="217"/>
                  </a:lnTo>
                  <a:lnTo>
                    <a:pt x="857" y="202"/>
                  </a:lnTo>
                  <a:lnTo>
                    <a:pt x="841" y="186"/>
                  </a:lnTo>
                  <a:lnTo>
                    <a:pt x="824" y="172"/>
                  </a:lnTo>
                  <a:lnTo>
                    <a:pt x="807" y="158"/>
                  </a:lnTo>
                  <a:lnTo>
                    <a:pt x="788" y="145"/>
                  </a:lnTo>
                  <a:lnTo>
                    <a:pt x="769" y="134"/>
                  </a:lnTo>
                  <a:lnTo>
                    <a:pt x="750" y="122"/>
                  </a:lnTo>
                  <a:lnTo>
                    <a:pt x="730" y="112"/>
                  </a:lnTo>
                  <a:lnTo>
                    <a:pt x="709" y="103"/>
                  </a:lnTo>
                  <a:lnTo>
                    <a:pt x="689" y="94"/>
                  </a:lnTo>
                  <a:lnTo>
                    <a:pt x="667" y="87"/>
                  </a:lnTo>
                  <a:lnTo>
                    <a:pt x="645" y="81"/>
                  </a:lnTo>
                  <a:lnTo>
                    <a:pt x="622" y="76"/>
                  </a:lnTo>
                  <a:lnTo>
                    <a:pt x="600" y="71"/>
                  </a:lnTo>
                  <a:lnTo>
                    <a:pt x="577" y="68"/>
                  </a:lnTo>
                  <a:lnTo>
                    <a:pt x="553" y="66"/>
                  </a:lnTo>
                  <a:lnTo>
                    <a:pt x="529" y="66"/>
                  </a:lnTo>
                  <a:lnTo>
                    <a:pt x="52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7" name="Freeform 136">
              <a:extLst>
                <a:ext uri="{FF2B5EF4-FFF2-40B4-BE49-F238E27FC236}">
                  <a16:creationId xmlns:a16="http://schemas.microsoft.com/office/drawing/2014/main" id="{429ED327-2B98-4589-A0F9-A6C268EB4049}"/>
                </a:ext>
              </a:extLst>
            </p:cNvPr>
            <p:cNvSpPr>
              <a:spLocks/>
            </p:cNvSpPr>
            <p:nvPr/>
          </p:nvSpPr>
          <p:spPr bwMode="auto">
            <a:xfrm>
              <a:off x="8659813" y="2693988"/>
              <a:ext cx="15875" cy="30163"/>
            </a:xfrm>
            <a:custGeom>
              <a:avLst/>
              <a:gdLst>
                <a:gd name="T0" fmla="*/ 33 w 66"/>
                <a:gd name="T1" fmla="*/ 133 h 133"/>
                <a:gd name="T2" fmla="*/ 33 w 66"/>
                <a:gd name="T3" fmla="*/ 133 h 133"/>
                <a:gd name="T4" fmla="*/ 27 w 66"/>
                <a:gd name="T5" fmla="*/ 131 h 133"/>
                <a:gd name="T6" fmla="*/ 21 w 66"/>
                <a:gd name="T7" fmla="*/ 129 h 133"/>
                <a:gd name="T8" fmla="*/ 16 w 66"/>
                <a:gd name="T9" fmla="*/ 126 h 133"/>
                <a:gd name="T10" fmla="*/ 10 w 66"/>
                <a:gd name="T11" fmla="*/ 122 h 133"/>
                <a:gd name="T12" fmla="*/ 6 w 66"/>
                <a:gd name="T13" fmla="*/ 118 h 133"/>
                <a:gd name="T14" fmla="*/ 3 w 66"/>
                <a:gd name="T15" fmla="*/ 112 h 133"/>
                <a:gd name="T16" fmla="*/ 1 w 66"/>
                <a:gd name="T17" fmla="*/ 106 h 133"/>
                <a:gd name="T18" fmla="*/ 0 w 66"/>
                <a:gd name="T19" fmla="*/ 99 h 133"/>
                <a:gd name="T20" fmla="*/ 0 w 66"/>
                <a:gd name="T21" fmla="*/ 33 h 133"/>
                <a:gd name="T22" fmla="*/ 0 w 66"/>
                <a:gd name="T23" fmla="*/ 33 h 133"/>
                <a:gd name="T24" fmla="*/ 1 w 66"/>
                <a:gd name="T25" fmla="*/ 26 h 133"/>
                <a:gd name="T26" fmla="*/ 3 w 66"/>
                <a:gd name="T27" fmla="*/ 20 h 133"/>
                <a:gd name="T28" fmla="*/ 6 w 66"/>
                <a:gd name="T29" fmla="*/ 14 h 133"/>
                <a:gd name="T30" fmla="*/ 10 w 66"/>
                <a:gd name="T31" fmla="*/ 9 h 133"/>
                <a:gd name="T32" fmla="*/ 16 w 66"/>
                <a:gd name="T33" fmla="*/ 5 h 133"/>
                <a:gd name="T34" fmla="*/ 21 w 66"/>
                <a:gd name="T35" fmla="*/ 2 h 133"/>
                <a:gd name="T36" fmla="*/ 27 w 66"/>
                <a:gd name="T37" fmla="*/ 0 h 133"/>
                <a:gd name="T38" fmla="*/ 33 w 66"/>
                <a:gd name="T39" fmla="*/ 0 h 133"/>
                <a:gd name="T40" fmla="*/ 33 w 66"/>
                <a:gd name="T41" fmla="*/ 0 h 133"/>
                <a:gd name="T42" fmla="*/ 40 w 66"/>
                <a:gd name="T43" fmla="*/ 0 h 133"/>
                <a:gd name="T44" fmla="*/ 47 w 66"/>
                <a:gd name="T45" fmla="*/ 2 h 133"/>
                <a:gd name="T46" fmla="*/ 52 w 66"/>
                <a:gd name="T47" fmla="*/ 5 h 133"/>
                <a:gd name="T48" fmla="*/ 57 w 66"/>
                <a:gd name="T49" fmla="*/ 9 h 133"/>
                <a:gd name="T50" fmla="*/ 61 w 66"/>
                <a:gd name="T51" fmla="*/ 14 h 133"/>
                <a:gd name="T52" fmla="*/ 64 w 66"/>
                <a:gd name="T53" fmla="*/ 20 h 133"/>
                <a:gd name="T54" fmla="*/ 66 w 66"/>
                <a:gd name="T55" fmla="*/ 26 h 133"/>
                <a:gd name="T56" fmla="*/ 66 w 66"/>
                <a:gd name="T57" fmla="*/ 33 h 133"/>
                <a:gd name="T58" fmla="*/ 66 w 66"/>
                <a:gd name="T59" fmla="*/ 99 h 133"/>
                <a:gd name="T60" fmla="*/ 66 w 66"/>
                <a:gd name="T61" fmla="*/ 99 h 133"/>
                <a:gd name="T62" fmla="*/ 66 w 66"/>
                <a:gd name="T63" fmla="*/ 106 h 133"/>
                <a:gd name="T64" fmla="*/ 64 w 66"/>
                <a:gd name="T65" fmla="*/ 112 h 133"/>
                <a:gd name="T66" fmla="*/ 61 w 66"/>
                <a:gd name="T67" fmla="*/ 118 h 133"/>
                <a:gd name="T68" fmla="*/ 57 w 66"/>
                <a:gd name="T69" fmla="*/ 122 h 133"/>
                <a:gd name="T70" fmla="*/ 52 w 66"/>
                <a:gd name="T71" fmla="*/ 126 h 133"/>
                <a:gd name="T72" fmla="*/ 47 w 66"/>
                <a:gd name="T73" fmla="*/ 129 h 133"/>
                <a:gd name="T74" fmla="*/ 40 w 66"/>
                <a:gd name="T75" fmla="*/ 131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1"/>
                  </a:lnTo>
                  <a:lnTo>
                    <a:pt x="21" y="129"/>
                  </a:lnTo>
                  <a:lnTo>
                    <a:pt x="16" y="126"/>
                  </a:lnTo>
                  <a:lnTo>
                    <a:pt x="10" y="122"/>
                  </a:lnTo>
                  <a:lnTo>
                    <a:pt x="6" y="118"/>
                  </a:lnTo>
                  <a:lnTo>
                    <a:pt x="3" y="112"/>
                  </a:lnTo>
                  <a:lnTo>
                    <a:pt x="1" y="106"/>
                  </a:lnTo>
                  <a:lnTo>
                    <a:pt x="0" y="99"/>
                  </a:lnTo>
                  <a:lnTo>
                    <a:pt x="0" y="33"/>
                  </a:lnTo>
                  <a:lnTo>
                    <a:pt x="0" y="33"/>
                  </a:lnTo>
                  <a:lnTo>
                    <a:pt x="1" y="26"/>
                  </a:lnTo>
                  <a:lnTo>
                    <a:pt x="3" y="20"/>
                  </a:lnTo>
                  <a:lnTo>
                    <a:pt x="6" y="14"/>
                  </a:lnTo>
                  <a:lnTo>
                    <a:pt x="10" y="9"/>
                  </a:lnTo>
                  <a:lnTo>
                    <a:pt x="16" y="5"/>
                  </a:lnTo>
                  <a:lnTo>
                    <a:pt x="21" y="2"/>
                  </a:lnTo>
                  <a:lnTo>
                    <a:pt x="27" y="0"/>
                  </a:lnTo>
                  <a:lnTo>
                    <a:pt x="33" y="0"/>
                  </a:lnTo>
                  <a:lnTo>
                    <a:pt x="33" y="0"/>
                  </a:lnTo>
                  <a:lnTo>
                    <a:pt x="40" y="0"/>
                  </a:lnTo>
                  <a:lnTo>
                    <a:pt x="47" y="2"/>
                  </a:lnTo>
                  <a:lnTo>
                    <a:pt x="52" y="5"/>
                  </a:lnTo>
                  <a:lnTo>
                    <a:pt x="57" y="9"/>
                  </a:lnTo>
                  <a:lnTo>
                    <a:pt x="61" y="14"/>
                  </a:lnTo>
                  <a:lnTo>
                    <a:pt x="64" y="20"/>
                  </a:lnTo>
                  <a:lnTo>
                    <a:pt x="66" y="26"/>
                  </a:lnTo>
                  <a:lnTo>
                    <a:pt x="66" y="33"/>
                  </a:lnTo>
                  <a:lnTo>
                    <a:pt x="66" y="99"/>
                  </a:lnTo>
                  <a:lnTo>
                    <a:pt x="66" y="99"/>
                  </a:lnTo>
                  <a:lnTo>
                    <a:pt x="66" y="106"/>
                  </a:lnTo>
                  <a:lnTo>
                    <a:pt x="64" y="112"/>
                  </a:lnTo>
                  <a:lnTo>
                    <a:pt x="61" y="118"/>
                  </a:lnTo>
                  <a:lnTo>
                    <a:pt x="57" y="122"/>
                  </a:lnTo>
                  <a:lnTo>
                    <a:pt x="52" y="126"/>
                  </a:lnTo>
                  <a:lnTo>
                    <a:pt x="47" y="129"/>
                  </a:lnTo>
                  <a:lnTo>
                    <a:pt x="40" y="131"/>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8" name="Freeform 137">
              <a:extLst>
                <a:ext uri="{FF2B5EF4-FFF2-40B4-BE49-F238E27FC236}">
                  <a16:creationId xmlns:a16="http://schemas.microsoft.com/office/drawing/2014/main" id="{DDC5B46F-4E08-4250-BFEA-F0E80B598032}"/>
                </a:ext>
              </a:extLst>
            </p:cNvPr>
            <p:cNvSpPr>
              <a:spLocks/>
            </p:cNvSpPr>
            <p:nvPr/>
          </p:nvSpPr>
          <p:spPr bwMode="auto">
            <a:xfrm>
              <a:off x="8659813" y="2589213"/>
              <a:ext cx="15875" cy="30163"/>
            </a:xfrm>
            <a:custGeom>
              <a:avLst/>
              <a:gdLst>
                <a:gd name="T0" fmla="*/ 33 w 66"/>
                <a:gd name="T1" fmla="*/ 132 h 132"/>
                <a:gd name="T2" fmla="*/ 33 w 66"/>
                <a:gd name="T3" fmla="*/ 132 h 132"/>
                <a:gd name="T4" fmla="*/ 27 w 66"/>
                <a:gd name="T5" fmla="*/ 132 h 132"/>
                <a:gd name="T6" fmla="*/ 21 w 66"/>
                <a:gd name="T7" fmla="*/ 129 h 132"/>
                <a:gd name="T8" fmla="*/ 16 w 66"/>
                <a:gd name="T9" fmla="*/ 126 h 132"/>
                <a:gd name="T10" fmla="*/ 10 w 66"/>
                <a:gd name="T11" fmla="*/ 122 h 132"/>
                <a:gd name="T12" fmla="*/ 6 w 66"/>
                <a:gd name="T13" fmla="*/ 117 h 132"/>
                <a:gd name="T14" fmla="*/ 3 w 66"/>
                <a:gd name="T15" fmla="*/ 112 h 132"/>
                <a:gd name="T16" fmla="*/ 1 w 66"/>
                <a:gd name="T17" fmla="*/ 106 h 132"/>
                <a:gd name="T18" fmla="*/ 0 w 66"/>
                <a:gd name="T19" fmla="*/ 98 h 132"/>
                <a:gd name="T20" fmla="*/ 0 w 66"/>
                <a:gd name="T21" fmla="*/ 32 h 132"/>
                <a:gd name="T22" fmla="*/ 0 w 66"/>
                <a:gd name="T23" fmla="*/ 32 h 132"/>
                <a:gd name="T24" fmla="*/ 1 w 66"/>
                <a:gd name="T25" fmla="*/ 26 h 132"/>
                <a:gd name="T26" fmla="*/ 3 w 66"/>
                <a:gd name="T27" fmla="*/ 20 h 132"/>
                <a:gd name="T28" fmla="*/ 6 w 66"/>
                <a:gd name="T29" fmla="*/ 14 h 132"/>
                <a:gd name="T30" fmla="*/ 10 w 66"/>
                <a:gd name="T31" fmla="*/ 9 h 132"/>
                <a:gd name="T32" fmla="*/ 16 w 66"/>
                <a:gd name="T33" fmla="*/ 5 h 132"/>
                <a:gd name="T34" fmla="*/ 21 w 66"/>
                <a:gd name="T35" fmla="*/ 2 h 132"/>
                <a:gd name="T36" fmla="*/ 27 w 66"/>
                <a:gd name="T37" fmla="*/ 0 h 132"/>
                <a:gd name="T38" fmla="*/ 33 w 66"/>
                <a:gd name="T39" fmla="*/ 0 h 132"/>
                <a:gd name="T40" fmla="*/ 33 w 66"/>
                <a:gd name="T41" fmla="*/ 0 h 132"/>
                <a:gd name="T42" fmla="*/ 40 w 66"/>
                <a:gd name="T43" fmla="*/ 0 h 132"/>
                <a:gd name="T44" fmla="*/ 47 w 66"/>
                <a:gd name="T45" fmla="*/ 2 h 132"/>
                <a:gd name="T46" fmla="*/ 52 w 66"/>
                <a:gd name="T47" fmla="*/ 5 h 132"/>
                <a:gd name="T48" fmla="*/ 57 w 66"/>
                <a:gd name="T49" fmla="*/ 9 h 132"/>
                <a:gd name="T50" fmla="*/ 61 w 66"/>
                <a:gd name="T51" fmla="*/ 14 h 132"/>
                <a:gd name="T52" fmla="*/ 64 w 66"/>
                <a:gd name="T53" fmla="*/ 20 h 132"/>
                <a:gd name="T54" fmla="*/ 66 w 66"/>
                <a:gd name="T55" fmla="*/ 26 h 132"/>
                <a:gd name="T56" fmla="*/ 66 w 66"/>
                <a:gd name="T57" fmla="*/ 32 h 132"/>
                <a:gd name="T58" fmla="*/ 66 w 66"/>
                <a:gd name="T59" fmla="*/ 98 h 132"/>
                <a:gd name="T60" fmla="*/ 66 w 66"/>
                <a:gd name="T61" fmla="*/ 98 h 132"/>
                <a:gd name="T62" fmla="*/ 66 w 66"/>
                <a:gd name="T63" fmla="*/ 106 h 132"/>
                <a:gd name="T64" fmla="*/ 64 w 66"/>
                <a:gd name="T65" fmla="*/ 112 h 132"/>
                <a:gd name="T66" fmla="*/ 61 w 66"/>
                <a:gd name="T67" fmla="*/ 117 h 132"/>
                <a:gd name="T68" fmla="*/ 57 w 66"/>
                <a:gd name="T69" fmla="*/ 122 h 132"/>
                <a:gd name="T70" fmla="*/ 52 w 66"/>
                <a:gd name="T71" fmla="*/ 126 h 132"/>
                <a:gd name="T72" fmla="*/ 47 w 66"/>
                <a:gd name="T73" fmla="*/ 129 h 132"/>
                <a:gd name="T74" fmla="*/ 40 w 66"/>
                <a:gd name="T75" fmla="*/ 132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7" y="132"/>
                  </a:lnTo>
                  <a:lnTo>
                    <a:pt x="21" y="129"/>
                  </a:lnTo>
                  <a:lnTo>
                    <a:pt x="16" y="126"/>
                  </a:lnTo>
                  <a:lnTo>
                    <a:pt x="10" y="122"/>
                  </a:lnTo>
                  <a:lnTo>
                    <a:pt x="6" y="117"/>
                  </a:lnTo>
                  <a:lnTo>
                    <a:pt x="3" y="112"/>
                  </a:lnTo>
                  <a:lnTo>
                    <a:pt x="1" y="106"/>
                  </a:lnTo>
                  <a:lnTo>
                    <a:pt x="0" y="98"/>
                  </a:lnTo>
                  <a:lnTo>
                    <a:pt x="0" y="32"/>
                  </a:lnTo>
                  <a:lnTo>
                    <a:pt x="0" y="32"/>
                  </a:lnTo>
                  <a:lnTo>
                    <a:pt x="1" y="26"/>
                  </a:lnTo>
                  <a:lnTo>
                    <a:pt x="3" y="20"/>
                  </a:lnTo>
                  <a:lnTo>
                    <a:pt x="6" y="14"/>
                  </a:lnTo>
                  <a:lnTo>
                    <a:pt x="10" y="9"/>
                  </a:lnTo>
                  <a:lnTo>
                    <a:pt x="16" y="5"/>
                  </a:lnTo>
                  <a:lnTo>
                    <a:pt x="21" y="2"/>
                  </a:lnTo>
                  <a:lnTo>
                    <a:pt x="27" y="0"/>
                  </a:lnTo>
                  <a:lnTo>
                    <a:pt x="33" y="0"/>
                  </a:lnTo>
                  <a:lnTo>
                    <a:pt x="33" y="0"/>
                  </a:lnTo>
                  <a:lnTo>
                    <a:pt x="40" y="0"/>
                  </a:lnTo>
                  <a:lnTo>
                    <a:pt x="47" y="2"/>
                  </a:lnTo>
                  <a:lnTo>
                    <a:pt x="52" y="5"/>
                  </a:lnTo>
                  <a:lnTo>
                    <a:pt x="57" y="9"/>
                  </a:lnTo>
                  <a:lnTo>
                    <a:pt x="61" y="14"/>
                  </a:lnTo>
                  <a:lnTo>
                    <a:pt x="64" y="20"/>
                  </a:lnTo>
                  <a:lnTo>
                    <a:pt x="66" y="26"/>
                  </a:lnTo>
                  <a:lnTo>
                    <a:pt x="66" y="32"/>
                  </a:lnTo>
                  <a:lnTo>
                    <a:pt x="66" y="98"/>
                  </a:lnTo>
                  <a:lnTo>
                    <a:pt x="66" y="98"/>
                  </a:lnTo>
                  <a:lnTo>
                    <a:pt x="66" y="106"/>
                  </a:lnTo>
                  <a:lnTo>
                    <a:pt x="64" y="112"/>
                  </a:lnTo>
                  <a:lnTo>
                    <a:pt x="61" y="117"/>
                  </a:lnTo>
                  <a:lnTo>
                    <a:pt x="57" y="122"/>
                  </a:lnTo>
                  <a:lnTo>
                    <a:pt x="52" y="126"/>
                  </a:lnTo>
                  <a:lnTo>
                    <a:pt x="47" y="129"/>
                  </a:lnTo>
                  <a:lnTo>
                    <a:pt x="40" y="132"/>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9" name="Freeform 138">
              <a:extLst>
                <a:ext uri="{FF2B5EF4-FFF2-40B4-BE49-F238E27FC236}">
                  <a16:creationId xmlns:a16="http://schemas.microsoft.com/office/drawing/2014/main" id="{A41C5544-746C-45EF-98B9-C75BB938BB44}"/>
                </a:ext>
              </a:extLst>
            </p:cNvPr>
            <p:cNvSpPr>
              <a:spLocks/>
            </p:cNvSpPr>
            <p:nvPr/>
          </p:nvSpPr>
          <p:spPr bwMode="auto">
            <a:xfrm>
              <a:off x="8637588" y="2603500"/>
              <a:ext cx="60325" cy="106363"/>
            </a:xfrm>
            <a:custGeom>
              <a:avLst/>
              <a:gdLst>
                <a:gd name="T0" fmla="*/ 105 w 264"/>
                <a:gd name="T1" fmla="*/ 461 h 464"/>
                <a:gd name="T2" fmla="*/ 58 w 264"/>
                <a:gd name="T3" fmla="*/ 441 h 464"/>
                <a:gd name="T4" fmla="*/ 21 w 264"/>
                <a:gd name="T5" fmla="*/ 405 h 464"/>
                <a:gd name="T6" fmla="*/ 2 w 264"/>
                <a:gd name="T7" fmla="*/ 359 h 464"/>
                <a:gd name="T8" fmla="*/ 0 w 264"/>
                <a:gd name="T9" fmla="*/ 324 h 464"/>
                <a:gd name="T10" fmla="*/ 14 w 264"/>
                <a:gd name="T11" fmla="*/ 304 h 464"/>
                <a:gd name="T12" fmla="*/ 33 w 264"/>
                <a:gd name="T13" fmla="*/ 299 h 464"/>
                <a:gd name="T14" fmla="*/ 56 w 264"/>
                <a:gd name="T15" fmla="*/ 308 h 464"/>
                <a:gd name="T16" fmla="*/ 66 w 264"/>
                <a:gd name="T17" fmla="*/ 332 h 464"/>
                <a:gd name="T18" fmla="*/ 68 w 264"/>
                <a:gd name="T19" fmla="*/ 351 h 464"/>
                <a:gd name="T20" fmla="*/ 85 w 264"/>
                <a:gd name="T21" fmla="*/ 378 h 464"/>
                <a:gd name="T22" fmla="*/ 111 w 264"/>
                <a:gd name="T23" fmla="*/ 395 h 464"/>
                <a:gd name="T24" fmla="*/ 131 w 264"/>
                <a:gd name="T25" fmla="*/ 398 h 464"/>
                <a:gd name="T26" fmla="*/ 157 w 264"/>
                <a:gd name="T27" fmla="*/ 393 h 464"/>
                <a:gd name="T28" fmla="*/ 186 w 264"/>
                <a:gd name="T29" fmla="*/ 369 h 464"/>
                <a:gd name="T30" fmla="*/ 196 w 264"/>
                <a:gd name="T31" fmla="*/ 345 h 464"/>
                <a:gd name="T32" fmla="*/ 197 w 264"/>
                <a:gd name="T33" fmla="*/ 324 h 464"/>
                <a:gd name="T34" fmla="*/ 190 w 264"/>
                <a:gd name="T35" fmla="*/ 301 h 464"/>
                <a:gd name="T36" fmla="*/ 163 w 264"/>
                <a:gd name="T37" fmla="*/ 274 h 464"/>
                <a:gd name="T38" fmla="*/ 138 w 264"/>
                <a:gd name="T39" fmla="*/ 265 h 464"/>
                <a:gd name="T40" fmla="*/ 105 w 264"/>
                <a:gd name="T41" fmla="*/ 262 h 464"/>
                <a:gd name="T42" fmla="*/ 58 w 264"/>
                <a:gd name="T43" fmla="*/ 243 h 464"/>
                <a:gd name="T44" fmla="*/ 21 w 264"/>
                <a:gd name="T45" fmla="*/ 207 h 464"/>
                <a:gd name="T46" fmla="*/ 2 w 264"/>
                <a:gd name="T47" fmla="*/ 160 h 464"/>
                <a:gd name="T48" fmla="*/ 0 w 264"/>
                <a:gd name="T49" fmla="*/ 119 h 464"/>
                <a:gd name="T50" fmla="*/ 15 w 264"/>
                <a:gd name="T51" fmla="*/ 70 h 464"/>
                <a:gd name="T52" fmla="*/ 47 w 264"/>
                <a:gd name="T53" fmla="*/ 31 h 464"/>
                <a:gd name="T54" fmla="*/ 92 w 264"/>
                <a:gd name="T55" fmla="*/ 6 h 464"/>
                <a:gd name="T56" fmla="*/ 131 w 264"/>
                <a:gd name="T57" fmla="*/ 0 h 464"/>
                <a:gd name="T58" fmla="*/ 183 w 264"/>
                <a:gd name="T59" fmla="*/ 11 h 464"/>
                <a:gd name="T60" fmla="*/ 225 w 264"/>
                <a:gd name="T61" fmla="*/ 40 h 464"/>
                <a:gd name="T62" fmla="*/ 253 w 264"/>
                <a:gd name="T63" fmla="*/ 82 h 464"/>
                <a:gd name="T64" fmla="*/ 264 w 264"/>
                <a:gd name="T65" fmla="*/ 133 h 464"/>
                <a:gd name="T66" fmla="*/ 258 w 264"/>
                <a:gd name="T67" fmla="*/ 151 h 464"/>
                <a:gd name="T68" fmla="*/ 238 w 264"/>
                <a:gd name="T69" fmla="*/ 166 h 464"/>
                <a:gd name="T70" fmla="*/ 218 w 264"/>
                <a:gd name="T71" fmla="*/ 164 h 464"/>
                <a:gd name="T72" fmla="*/ 200 w 264"/>
                <a:gd name="T73" fmla="*/ 146 h 464"/>
                <a:gd name="T74" fmla="*/ 197 w 264"/>
                <a:gd name="T75" fmla="*/ 127 h 464"/>
                <a:gd name="T76" fmla="*/ 190 w 264"/>
                <a:gd name="T77" fmla="*/ 102 h 464"/>
                <a:gd name="T78" fmla="*/ 163 w 264"/>
                <a:gd name="T79" fmla="*/ 75 h 464"/>
                <a:gd name="T80" fmla="*/ 138 w 264"/>
                <a:gd name="T81" fmla="*/ 68 h 464"/>
                <a:gd name="T82" fmla="*/ 119 w 264"/>
                <a:gd name="T83" fmla="*/ 69 h 464"/>
                <a:gd name="T84" fmla="*/ 95 w 264"/>
                <a:gd name="T85" fmla="*/ 78 h 464"/>
                <a:gd name="T86" fmla="*/ 71 w 264"/>
                <a:gd name="T87" fmla="*/ 107 h 464"/>
                <a:gd name="T88" fmla="*/ 66 w 264"/>
                <a:gd name="T89" fmla="*/ 133 h 464"/>
                <a:gd name="T90" fmla="*/ 68 w 264"/>
                <a:gd name="T91" fmla="*/ 152 h 464"/>
                <a:gd name="T92" fmla="*/ 85 w 264"/>
                <a:gd name="T93" fmla="*/ 179 h 464"/>
                <a:gd name="T94" fmla="*/ 111 w 264"/>
                <a:gd name="T95" fmla="*/ 196 h 464"/>
                <a:gd name="T96" fmla="*/ 131 w 264"/>
                <a:gd name="T97" fmla="*/ 199 h 464"/>
                <a:gd name="T98" fmla="*/ 183 w 264"/>
                <a:gd name="T99" fmla="*/ 209 h 464"/>
                <a:gd name="T100" fmla="*/ 225 w 264"/>
                <a:gd name="T101" fmla="*/ 238 h 464"/>
                <a:gd name="T102" fmla="*/ 253 w 264"/>
                <a:gd name="T103" fmla="*/ 280 h 464"/>
                <a:gd name="T104" fmla="*/ 264 w 264"/>
                <a:gd name="T105" fmla="*/ 332 h 464"/>
                <a:gd name="T106" fmla="*/ 257 w 264"/>
                <a:gd name="T107" fmla="*/ 371 h 464"/>
                <a:gd name="T108" fmla="*/ 234 w 264"/>
                <a:gd name="T109" fmla="*/ 416 h 464"/>
                <a:gd name="T110" fmla="*/ 194 w 264"/>
                <a:gd name="T111" fmla="*/ 448 h 464"/>
                <a:gd name="T112" fmla="*/ 145 w 264"/>
                <a:gd name="T113" fmla="*/ 46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464">
                  <a:moveTo>
                    <a:pt x="131" y="464"/>
                  </a:moveTo>
                  <a:lnTo>
                    <a:pt x="131" y="464"/>
                  </a:lnTo>
                  <a:lnTo>
                    <a:pt x="118" y="463"/>
                  </a:lnTo>
                  <a:lnTo>
                    <a:pt x="105" y="461"/>
                  </a:lnTo>
                  <a:lnTo>
                    <a:pt x="92" y="458"/>
                  </a:lnTo>
                  <a:lnTo>
                    <a:pt x="80" y="454"/>
                  </a:lnTo>
                  <a:lnTo>
                    <a:pt x="69" y="448"/>
                  </a:lnTo>
                  <a:lnTo>
                    <a:pt x="58" y="441"/>
                  </a:lnTo>
                  <a:lnTo>
                    <a:pt x="47" y="434"/>
                  </a:lnTo>
                  <a:lnTo>
                    <a:pt x="38" y="425"/>
                  </a:lnTo>
                  <a:lnTo>
                    <a:pt x="30" y="416"/>
                  </a:lnTo>
                  <a:lnTo>
                    <a:pt x="21" y="405"/>
                  </a:lnTo>
                  <a:lnTo>
                    <a:pt x="15" y="395"/>
                  </a:lnTo>
                  <a:lnTo>
                    <a:pt x="10" y="383"/>
                  </a:lnTo>
                  <a:lnTo>
                    <a:pt x="5" y="371"/>
                  </a:lnTo>
                  <a:lnTo>
                    <a:pt x="2" y="359"/>
                  </a:lnTo>
                  <a:lnTo>
                    <a:pt x="0" y="345"/>
                  </a:lnTo>
                  <a:lnTo>
                    <a:pt x="0" y="332"/>
                  </a:lnTo>
                  <a:lnTo>
                    <a:pt x="0" y="332"/>
                  </a:lnTo>
                  <a:lnTo>
                    <a:pt x="0" y="324"/>
                  </a:lnTo>
                  <a:lnTo>
                    <a:pt x="2" y="318"/>
                  </a:lnTo>
                  <a:lnTo>
                    <a:pt x="5" y="313"/>
                  </a:lnTo>
                  <a:lnTo>
                    <a:pt x="9" y="308"/>
                  </a:lnTo>
                  <a:lnTo>
                    <a:pt x="14" y="304"/>
                  </a:lnTo>
                  <a:lnTo>
                    <a:pt x="19" y="301"/>
                  </a:lnTo>
                  <a:lnTo>
                    <a:pt x="26" y="300"/>
                  </a:lnTo>
                  <a:lnTo>
                    <a:pt x="33" y="299"/>
                  </a:lnTo>
                  <a:lnTo>
                    <a:pt x="33" y="299"/>
                  </a:lnTo>
                  <a:lnTo>
                    <a:pt x="39" y="300"/>
                  </a:lnTo>
                  <a:lnTo>
                    <a:pt x="45" y="301"/>
                  </a:lnTo>
                  <a:lnTo>
                    <a:pt x="50" y="304"/>
                  </a:lnTo>
                  <a:lnTo>
                    <a:pt x="56" y="308"/>
                  </a:lnTo>
                  <a:lnTo>
                    <a:pt x="60" y="313"/>
                  </a:lnTo>
                  <a:lnTo>
                    <a:pt x="63" y="318"/>
                  </a:lnTo>
                  <a:lnTo>
                    <a:pt x="65" y="324"/>
                  </a:lnTo>
                  <a:lnTo>
                    <a:pt x="66" y="332"/>
                  </a:lnTo>
                  <a:lnTo>
                    <a:pt x="66" y="332"/>
                  </a:lnTo>
                  <a:lnTo>
                    <a:pt x="66" y="338"/>
                  </a:lnTo>
                  <a:lnTo>
                    <a:pt x="67" y="345"/>
                  </a:lnTo>
                  <a:lnTo>
                    <a:pt x="68" y="351"/>
                  </a:lnTo>
                  <a:lnTo>
                    <a:pt x="71" y="358"/>
                  </a:lnTo>
                  <a:lnTo>
                    <a:pt x="73" y="363"/>
                  </a:lnTo>
                  <a:lnTo>
                    <a:pt x="76" y="369"/>
                  </a:lnTo>
                  <a:lnTo>
                    <a:pt x="85" y="378"/>
                  </a:lnTo>
                  <a:lnTo>
                    <a:pt x="95" y="387"/>
                  </a:lnTo>
                  <a:lnTo>
                    <a:pt x="100" y="390"/>
                  </a:lnTo>
                  <a:lnTo>
                    <a:pt x="106" y="393"/>
                  </a:lnTo>
                  <a:lnTo>
                    <a:pt x="111" y="395"/>
                  </a:lnTo>
                  <a:lnTo>
                    <a:pt x="119" y="397"/>
                  </a:lnTo>
                  <a:lnTo>
                    <a:pt x="125" y="398"/>
                  </a:lnTo>
                  <a:lnTo>
                    <a:pt x="131" y="398"/>
                  </a:lnTo>
                  <a:lnTo>
                    <a:pt x="131" y="398"/>
                  </a:lnTo>
                  <a:lnTo>
                    <a:pt x="138" y="398"/>
                  </a:lnTo>
                  <a:lnTo>
                    <a:pt x="145" y="397"/>
                  </a:lnTo>
                  <a:lnTo>
                    <a:pt x="151" y="395"/>
                  </a:lnTo>
                  <a:lnTo>
                    <a:pt x="157" y="393"/>
                  </a:lnTo>
                  <a:lnTo>
                    <a:pt x="163" y="390"/>
                  </a:lnTo>
                  <a:lnTo>
                    <a:pt x="168" y="387"/>
                  </a:lnTo>
                  <a:lnTo>
                    <a:pt x="179" y="378"/>
                  </a:lnTo>
                  <a:lnTo>
                    <a:pt x="186" y="369"/>
                  </a:lnTo>
                  <a:lnTo>
                    <a:pt x="190" y="363"/>
                  </a:lnTo>
                  <a:lnTo>
                    <a:pt x="192" y="358"/>
                  </a:lnTo>
                  <a:lnTo>
                    <a:pt x="194" y="351"/>
                  </a:lnTo>
                  <a:lnTo>
                    <a:pt x="196" y="345"/>
                  </a:lnTo>
                  <a:lnTo>
                    <a:pt x="197" y="338"/>
                  </a:lnTo>
                  <a:lnTo>
                    <a:pt x="197" y="332"/>
                  </a:lnTo>
                  <a:lnTo>
                    <a:pt x="197" y="332"/>
                  </a:lnTo>
                  <a:lnTo>
                    <a:pt x="197" y="324"/>
                  </a:lnTo>
                  <a:lnTo>
                    <a:pt x="196" y="318"/>
                  </a:lnTo>
                  <a:lnTo>
                    <a:pt x="194" y="312"/>
                  </a:lnTo>
                  <a:lnTo>
                    <a:pt x="192" y="306"/>
                  </a:lnTo>
                  <a:lnTo>
                    <a:pt x="190" y="301"/>
                  </a:lnTo>
                  <a:lnTo>
                    <a:pt x="186" y="294"/>
                  </a:lnTo>
                  <a:lnTo>
                    <a:pt x="179" y="285"/>
                  </a:lnTo>
                  <a:lnTo>
                    <a:pt x="168" y="277"/>
                  </a:lnTo>
                  <a:lnTo>
                    <a:pt x="163" y="274"/>
                  </a:lnTo>
                  <a:lnTo>
                    <a:pt x="157" y="271"/>
                  </a:lnTo>
                  <a:lnTo>
                    <a:pt x="151" y="268"/>
                  </a:lnTo>
                  <a:lnTo>
                    <a:pt x="145" y="266"/>
                  </a:lnTo>
                  <a:lnTo>
                    <a:pt x="138" y="265"/>
                  </a:lnTo>
                  <a:lnTo>
                    <a:pt x="131" y="265"/>
                  </a:lnTo>
                  <a:lnTo>
                    <a:pt x="131" y="265"/>
                  </a:lnTo>
                  <a:lnTo>
                    <a:pt x="118" y="264"/>
                  </a:lnTo>
                  <a:lnTo>
                    <a:pt x="105" y="262"/>
                  </a:lnTo>
                  <a:lnTo>
                    <a:pt x="92" y="259"/>
                  </a:lnTo>
                  <a:lnTo>
                    <a:pt x="80" y="255"/>
                  </a:lnTo>
                  <a:lnTo>
                    <a:pt x="69" y="250"/>
                  </a:lnTo>
                  <a:lnTo>
                    <a:pt x="58" y="243"/>
                  </a:lnTo>
                  <a:lnTo>
                    <a:pt x="47" y="235"/>
                  </a:lnTo>
                  <a:lnTo>
                    <a:pt x="38" y="227"/>
                  </a:lnTo>
                  <a:lnTo>
                    <a:pt x="30" y="217"/>
                  </a:lnTo>
                  <a:lnTo>
                    <a:pt x="21" y="207"/>
                  </a:lnTo>
                  <a:lnTo>
                    <a:pt x="15" y="196"/>
                  </a:lnTo>
                  <a:lnTo>
                    <a:pt x="10" y="185"/>
                  </a:lnTo>
                  <a:lnTo>
                    <a:pt x="5" y="172"/>
                  </a:lnTo>
                  <a:lnTo>
                    <a:pt x="2" y="160"/>
                  </a:lnTo>
                  <a:lnTo>
                    <a:pt x="0" y="146"/>
                  </a:lnTo>
                  <a:lnTo>
                    <a:pt x="0" y="133"/>
                  </a:lnTo>
                  <a:lnTo>
                    <a:pt x="0" y="133"/>
                  </a:lnTo>
                  <a:lnTo>
                    <a:pt x="0" y="119"/>
                  </a:lnTo>
                  <a:lnTo>
                    <a:pt x="2" y="106"/>
                  </a:lnTo>
                  <a:lnTo>
                    <a:pt x="5" y="93"/>
                  </a:lnTo>
                  <a:lnTo>
                    <a:pt x="10" y="82"/>
                  </a:lnTo>
                  <a:lnTo>
                    <a:pt x="15" y="70"/>
                  </a:lnTo>
                  <a:lnTo>
                    <a:pt x="21" y="59"/>
                  </a:lnTo>
                  <a:lnTo>
                    <a:pt x="30" y="49"/>
                  </a:lnTo>
                  <a:lnTo>
                    <a:pt x="38" y="40"/>
                  </a:lnTo>
                  <a:lnTo>
                    <a:pt x="47" y="31"/>
                  </a:lnTo>
                  <a:lnTo>
                    <a:pt x="58" y="23"/>
                  </a:lnTo>
                  <a:lnTo>
                    <a:pt x="69" y="17"/>
                  </a:lnTo>
                  <a:lnTo>
                    <a:pt x="80" y="11"/>
                  </a:lnTo>
                  <a:lnTo>
                    <a:pt x="92" y="6"/>
                  </a:lnTo>
                  <a:lnTo>
                    <a:pt x="105" y="3"/>
                  </a:lnTo>
                  <a:lnTo>
                    <a:pt x="118" y="1"/>
                  </a:lnTo>
                  <a:lnTo>
                    <a:pt x="131" y="0"/>
                  </a:lnTo>
                  <a:lnTo>
                    <a:pt x="131" y="0"/>
                  </a:lnTo>
                  <a:lnTo>
                    <a:pt x="145" y="1"/>
                  </a:lnTo>
                  <a:lnTo>
                    <a:pt x="158" y="3"/>
                  </a:lnTo>
                  <a:lnTo>
                    <a:pt x="170" y="6"/>
                  </a:lnTo>
                  <a:lnTo>
                    <a:pt x="183" y="11"/>
                  </a:lnTo>
                  <a:lnTo>
                    <a:pt x="194" y="17"/>
                  </a:lnTo>
                  <a:lnTo>
                    <a:pt x="206" y="23"/>
                  </a:lnTo>
                  <a:lnTo>
                    <a:pt x="216" y="31"/>
                  </a:lnTo>
                  <a:lnTo>
                    <a:pt x="225" y="40"/>
                  </a:lnTo>
                  <a:lnTo>
                    <a:pt x="234" y="49"/>
                  </a:lnTo>
                  <a:lnTo>
                    <a:pt x="241" y="59"/>
                  </a:lnTo>
                  <a:lnTo>
                    <a:pt x="248" y="70"/>
                  </a:lnTo>
                  <a:lnTo>
                    <a:pt x="253" y="82"/>
                  </a:lnTo>
                  <a:lnTo>
                    <a:pt x="257" y="93"/>
                  </a:lnTo>
                  <a:lnTo>
                    <a:pt x="261" y="106"/>
                  </a:lnTo>
                  <a:lnTo>
                    <a:pt x="264" y="119"/>
                  </a:lnTo>
                  <a:lnTo>
                    <a:pt x="264" y="133"/>
                  </a:lnTo>
                  <a:lnTo>
                    <a:pt x="264" y="133"/>
                  </a:lnTo>
                  <a:lnTo>
                    <a:pt x="264" y="140"/>
                  </a:lnTo>
                  <a:lnTo>
                    <a:pt x="261" y="146"/>
                  </a:lnTo>
                  <a:lnTo>
                    <a:pt x="258" y="151"/>
                  </a:lnTo>
                  <a:lnTo>
                    <a:pt x="254" y="157"/>
                  </a:lnTo>
                  <a:lnTo>
                    <a:pt x="249" y="161"/>
                  </a:lnTo>
                  <a:lnTo>
                    <a:pt x="244" y="164"/>
                  </a:lnTo>
                  <a:lnTo>
                    <a:pt x="238" y="166"/>
                  </a:lnTo>
                  <a:lnTo>
                    <a:pt x="230" y="166"/>
                  </a:lnTo>
                  <a:lnTo>
                    <a:pt x="230" y="166"/>
                  </a:lnTo>
                  <a:lnTo>
                    <a:pt x="224" y="166"/>
                  </a:lnTo>
                  <a:lnTo>
                    <a:pt x="218" y="164"/>
                  </a:lnTo>
                  <a:lnTo>
                    <a:pt x="212" y="161"/>
                  </a:lnTo>
                  <a:lnTo>
                    <a:pt x="208" y="157"/>
                  </a:lnTo>
                  <a:lnTo>
                    <a:pt x="204" y="151"/>
                  </a:lnTo>
                  <a:lnTo>
                    <a:pt x="200" y="146"/>
                  </a:lnTo>
                  <a:lnTo>
                    <a:pt x="198" y="140"/>
                  </a:lnTo>
                  <a:lnTo>
                    <a:pt x="197" y="133"/>
                  </a:lnTo>
                  <a:lnTo>
                    <a:pt x="197" y="133"/>
                  </a:lnTo>
                  <a:lnTo>
                    <a:pt x="197" y="127"/>
                  </a:lnTo>
                  <a:lnTo>
                    <a:pt x="196" y="119"/>
                  </a:lnTo>
                  <a:lnTo>
                    <a:pt x="194" y="113"/>
                  </a:lnTo>
                  <a:lnTo>
                    <a:pt x="192" y="107"/>
                  </a:lnTo>
                  <a:lnTo>
                    <a:pt x="190" y="102"/>
                  </a:lnTo>
                  <a:lnTo>
                    <a:pt x="186" y="97"/>
                  </a:lnTo>
                  <a:lnTo>
                    <a:pt x="179" y="86"/>
                  </a:lnTo>
                  <a:lnTo>
                    <a:pt x="168" y="78"/>
                  </a:lnTo>
                  <a:lnTo>
                    <a:pt x="163" y="75"/>
                  </a:lnTo>
                  <a:lnTo>
                    <a:pt x="157" y="72"/>
                  </a:lnTo>
                  <a:lnTo>
                    <a:pt x="151" y="70"/>
                  </a:lnTo>
                  <a:lnTo>
                    <a:pt x="145" y="69"/>
                  </a:lnTo>
                  <a:lnTo>
                    <a:pt x="138" y="68"/>
                  </a:lnTo>
                  <a:lnTo>
                    <a:pt x="131" y="67"/>
                  </a:lnTo>
                  <a:lnTo>
                    <a:pt x="131" y="67"/>
                  </a:lnTo>
                  <a:lnTo>
                    <a:pt x="125" y="68"/>
                  </a:lnTo>
                  <a:lnTo>
                    <a:pt x="119" y="69"/>
                  </a:lnTo>
                  <a:lnTo>
                    <a:pt x="111" y="70"/>
                  </a:lnTo>
                  <a:lnTo>
                    <a:pt x="106" y="72"/>
                  </a:lnTo>
                  <a:lnTo>
                    <a:pt x="100" y="75"/>
                  </a:lnTo>
                  <a:lnTo>
                    <a:pt x="95" y="78"/>
                  </a:lnTo>
                  <a:lnTo>
                    <a:pt x="85" y="86"/>
                  </a:lnTo>
                  <a:lnTo>
                    <a:pt x="76" y="97"/>
                  </a:lnTo>
                  <a:lnTo>
                    <a:pt x="73" y="102"/>
                  </a:lnTo>
                  <a:lnTo>
                    <a:pt x="71" y="107"/>
                  </a:lnTo>
                  <a:lnTo>
                    <a:pt x="68" y="113"/>
                  </a:lnTo>
                  <a:lnTo>
                    <a:pt x="67" y="119"/>
                  </a:lnTo>
                  <a:lnTo>
                    <a:pt x="66" y="127"/>
                  </a:lnTo>
                  <a:lnTo>
                    <a:pt x="66" y="133"/>
                  </a:lnTo>
                  <a:lnTo>
                    <a:pt x="66" y="133"/>
                  </a:lnTo>
                  <a:lnTo>
                    <a:pt x="66" y="140"/>
                  </a:lnTo>
                  <a:lnTo>
                    <a:pt x="67" y="146"/>
                  </a:lnTo>
                  <a:lnTo>
                    <a:pt x="68" y="152"/>
                  </a:lnTo>
                  <a:lnTo>
                    <a:pt x="71" y="159"/>
                  </a:lnTo>
                  <a:lnTo>
                    <a:pt x="73" y="165"/>
                  </a:lnTo>
                  <a:lnTo>
                    <a:pt x="76" y="170"/>
                  </a:lnTo>
                  <a:lnTo>
                    <a:pt x="85" y="179"/>
                  </a:lnTo>
                  <a:lnTo>
                    <a:pt x="95" y="188"/>
                  </a:lnTo>
                  <a:lnTo>
                    <a:pt x="100" y="191"/>
                  </a:lnTo>
                  <a:lnTo>
                    <a:pt x="106" y="194"/>
                  </a:lnTo>
                  <a:lnTo>
                    <a:pt x="111" y="196"/>
                  </a:lnTo>
                  <a:lnTo>
                    <a:pt x="119" y="198"/>
                  </a:lnTo>
                  <a:lnTo>
                    <a:pt x="125" y="199"/>
                  </a:lnTo>
                  <a:lnTo>
                    <a:pt x="131" y="199"/>
                  </a:lnTo>
                  <a:lnTo>
                    <a:pt x="131" y="199"/>
                  </a:lnTo>
                  <a:lnTo>
                    <a:pt x="145" y="200"/>
                  </a:lnTo>
                  <a:lnTo>
                    <a:pt x="158" y="202"/>
                  </a:lnTo>
                  <a:lnTo>
                    <a:pt x="170" y="205"/>
                  </a:lnTo>
                  <a:lnTo>
                    <a:pt x="183" y="209"/>
                  </a:lnTo>
                  <a:lnTo>
                    <a:pt x="194" y="216"/>
                  </a:lnTo>
                  <a:lnTo>
                    <a:pt x="206" y="222"/>
                  </a:lnTo>
                  <a:lnTo>
                    <a:pt x="216" y="229"/>
                  </a:lnTo>
                  <a:lnTo>
                    <a:pt x="225" y="238"/>
                  </a:lnTo>
                  <a:lnTo>
                    <a:pt x="234" y="248"/>
                  </a:lnTo>
                  <a:lnTo>
                    <a:pt x="241" y="258"/>
                  </a:lnTo>
                  <a:lnTo>
                    <a:pt x="248" y="268"/>
                  </a:lnTo>
                  <a:lnTo>
                    <a:pt x="253" y="280"/>
                  </a:lnTo>
                  <a:lnTo>
                    <a:pt x="257" y="292"/>
                  </a:lnTo>
                  <a:lnTo>
                    <a:pt x="261" y="305"/>
                  </a:lnTo>
                  <a:lnTo>
                    <a:pt x="264" y="318"/>
                  </a:lnTo>
                  <a:lnTo>
                    <a:pt x="264" y="332"/>
                  </a:lnTo>
                  <a:lnTo>
                    <a:pt x="264" y="332"/>
                  </a:lnTo>
                  <a:lnTo>
                    <a:pt x="264" y="345"/>
                  </a:lnTo>
                  <a:lnTo>
                    <a:pt x="261" y="359"/>
                  </a:lnTo>
                  <a:lnTo>
                    <a:pt x="257" y="371"/>
                  </a:lnTo>
                  <a:lnTo>
                    <a:pt x="253" y="383"/>
                  </a:lnTo>
                  <a:lnTo>
                    <a:pt x="248" y="395"/>
                  </a:lnTo>
                  <a:lnTo>
                    <a:pt x="241" y="405"/>
                  </a:lnTo>
                  <a:lnTo>
                    <a:pt x="234" y="416"/>
                  </a:lnTo>
                  <a:lnTo>
                    <a:pt x="225" y="425"/>
                  </a:lnTo>
                  <a:lnTo>
                    <a:pt x="216" y="434"/>
                  </a:lnTo>
                  <a:lnTo>
                    <a:pt x="206" y="441"/>
                  </a:lnTo>
                  <a:lnTo>
                    <a:pt x="194" y="448"/>
                  </a:lnTo>
                  <a:lnTo>
                    <a:pt x="183" y="454"/>
                  </a:lnTo>
                  <a:lnTo>
                    <a:pt x="170" y="458"/>
                  </a:lnTo>
                  <a:lnTo>
                    <a:pt x="158" y="461"/>
                  </a:lnTo>
                  <a:lnTo>
                    <a:pt x="145" y="463"/>
                  </a:lnTo>
                  <a:lnTo>
                    <a:pt x="131" y="464"/>
                  </a:lnTo>
                  <a:lnTo>
                    <a:pt x="131"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0" name="Freeform 139">
              <a:extLst>
                <a:ext uri="{FF2B5EF4-FFF2-40B4-BE49-F238E27FC236}">
                  <a16:creationId xmlns:a16="http://schemas.microsoft.com/office/drawing/2014/main" id="{6593C33F-B03D-4C89-B670-979351EB85E8}"/>
                </a:ext>
              </a:extLst>
            </p:cNvPr>
            <p:cNvSpPr>
              <a:spLocks/>
            </p:cNvSpPr>
            <p:nvPr/>
          </p:nvSpPr>
          <p:spPr bwMode="auto">
            <a:xfrm>
              <a:off x="8540750" y="2814638"/>
              <a:ext cx="14288" cy="30163"/>
            </a:xfrm>
            <a:custGeom>
              <a:avLst/>
              <a:gdLst>
                <a:gd name="T0" fmla="*/ 33 w 66"/>
                <a:gd name="T1" fmla="*/ 133 h 133"/>
                <a:gd name="T2" fmla="*/ 33 w 66"/>
                <a:gd name="T3" fmla="*/ 133 h 133"/>
                <a:gd name="T4" fmla="*/ 27 w 66"/>
                <a:gd name="T5" fmla="*/ 132 h 133"/>
                <a:gd name="T6" fmla="*/ 21 w 66"/>
                <a:gd name="T7" fmla="*/ 130 h 133"/>
                <a:gd name="T8" fmla="*/ 15 w 66"/>
                <a:gd name="T9" fmla="*/ 127 h 133"/>
                <a:gd name="T10" fmla="*/ 11 w 66"/>
                <a:gd name="T11" fmla="*/ 123 h 133"/>
                <a:gd name="T12" fmla="*/ 6 w 66"/>
                <a:gd name="T13" fmla="*/ 118 h 133"/>
                <a:gd name="T14" fmla="*/ 3 w 66"/>
                <a:gd name="T15" fmla="*/ 112 h 133"/>
                <a:gd name="T16" fmla="*/ 1 w 66"/>
                <a:gd name="T17" fmla="*/ 106 h 133"/>
                <a:gd name="T18" fmla="*/ 0 w 66"/>
                <a:gd name="T19" fmla="*/ 100 h 133"/>
                <a:gd name="T20" fmla="*/ 0 w 66"/>
                <a:gd name="T21" fmla="*/ 33 h 133"/>
                <a:gd name="T22" fmla="*/ 0 w 66"/>
                <a:gd name="T23" fmla="*/ 33 h 133"/>
                <a:gd name="T24" fmla="*/ 1 w 66"/>
                <a:gd name="T25" fmla="*/ 27 h 133"/>
                <a:gd name="T26" fmla="*/ 3 w 66"/>
                <a:gd name="T27" fmla="*/ 21 h 133"/>
                <a:gd name="T28" fmla="*/ 6 w 66"/>
                <a:gd name="T29" fmla="*/ 15 h 133"/>
                <a:gd name="T30" fmla="*/ 11 w 66"/>
                <a:gd name="T31" fmla="*/ 9 h 133"/>
                <a:gd name="T32" fmla="*/ 15 w 66"/>
                <a:gd name="T33" fmla="*/ 6 h 133"/>
                <a:gd name="T34" fmla="*/ 21 w 66"/>
                <a:gd name="T35" fmla="*/ 3 h 133"/>
                <a:gd name="T36" fmla="*/ 27 w 66"/>
                <a:gd name="T37" fmla="*/ 1 h 133"/>
                <a:gd name="T38" fmla="*/ 33 w 66"/>
                <a:gd name="T39" fmla="*/ 0 h 133"/>
                <a:gd name="T40" fmla="*/ 33 w 66"/>
                <a:gd name="T41" fmla="*/ 0 h 133"/>
                <a:gd name="T42" fmla="*/ 41 w 66"/>
                <a:gd name="T43" fmla="*/ 1 h 133"/>
                <a:gd name="T44" fmla="*/ 47 w 66"/>
                <a:gd name="T45" fmla="*/ 3 h 133"/>
                <a:gd name="T46" fmla="*/ 52 w 66"/>
                <a:gd name="T47" fmla="*/ 6 h 133"/>
                <a:gd name="T48" fmla="*/ 57 w 66"/>
                <a:gd name="T49" fmla="*/ 9 h 133"/>
                <a:gd name="T50" fmla="*/ 61 w 66"/>
                <a:gd name="T51" fmla="*/ 15 h 133"/>
                <a:gd name="T52" fmla="*/ 64 w 66"/>
                <a:gd name="T53" fmla="*/ 21 h 133"/>
                <a:gd name="T54" fmla="*/ 66 w 66"/>
                <a:gd name="T55" fmla="*/ 27 h 133"/>
                <a:gd name="T56" fmla="*/ 66 w 66"/>
                <a:gd name="T57" fmla="*/ 33 h 133"/>
                <a:gd name="T58" fmla="*/ 66 w 66"/>
                <a:gd name="T59" fmla="*/ 100 h 133"/>
                <a:gd name="T60" fmla="*/ 66 w 66"/>
                <a:gd name="T61" fmla="*/ 100 h 133"/>
                <a:gd name="T62" fmla="*/ 66 w 66"/>
                <a:gd name="T63" fmla="*/ 106 h 133"/>
                <a:gd name="T64" fmla="*/ 64 w 66"/>
                <a:gd name="T65" fmla="*/ 112 h 133"/>
                <a:gd name="T66" fmla="*/ 61 w 66"/>
                <a:gd name="T67" fmla="*/ 118 h 133"/>
                <a:gd name="T68" fmla="*/ 57 w 66"/>
                <a:gd name="T69" fmla="*/ 123 h 133"/>
                <a:gd name="T70" fmla="*/ 52 w 66"/>
                <a:gd name="T71" fmla="*/ 127 h 133"/>
                <a:gd name="T72" fmla="*/ 47 w 66"/>
                <a:gd name="T73" fmla="*/ 130 h 133"/>
                <a:gd name="T74" fmla="*/ 41 w 66"/>
                <a:gd name="T75" fmla="*/ 132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2"/>
                  </a:lnTo>
                  <a:lnTo>
                    <a:pt x="21" y="130"/>
                  </a:lnTo>
                  <a:lnTo>
                    <a:pt x="15" y="127"/>
                  </a:lnTo>
                  <a:lnTo>
                    <a:pt x="11" y="123"/>
                  </a:lnTo>
                  <a:lnTo>
                    <a:pt x="6" y="118"/>
                  </a:lnTo>
                  <a:lnTo>
                    <a:pt x="3" y="112"/>
                  </a:lnTo>
                  <a:lnTo>
                    <a:pt x="1" y="106"/>
                  </a:lnTo>
                  <a:lnTo>
                    <a:pt x="0" y="100"/>
                  </a:lnTo>
                  <a:lnTo>
                    <a:pt x="0" y="33"/>
                  </a:lnTo>
                  <a:lnTo>
                    <a:pt x="0" y="33"/>
                  </a:lnTo>
                  <a:lnTo>
                    <a:pt x="1" y="27"/>
                  </a:lnTo>
                  <a:lnTo>
                    <a:pt x="3" y="21"/>
                  </a:lnTo>
                  <a:lnTo>
                    <a:pt x="6" y="15"/>
                  </a:lnTo>
                  <a:lnTo>
                    <a:pt x="11" y="9"/>
                  </a:lnTo>
                  <a:lnTo>
                    <a:pt x="15" y="6"/>
                  </a:lnTo>
                  <a:lnTo>
                    <a:pt x="21" y="3"/>
                  </a:lnTo>
                  <a:lnTo>
                    <a:pt x="27" y="1"/>
                  </a:lnTo>
                  <a:lnTo>
                    <a:pt x="33" y="0"/>
                  </a:lnTo>
                  <a:lnTo>
                    <a:pt x="33" y="0"/>
                  </a:lnTo>
                  <a:lnTo>
                    <a:pt x="41" y="1"/>
                  </a:lnTo>
                  <a:lnTo>
                    <a:pt x="47" y="3"/>
                  </a:lnTo>
                  <a:lnTo>
                    <a:pt x="52" y="6"/>
                  </a:lnTo>
                  <a:lnTo>
                    <a:pt x="57" y="9"/>
                  </a:lnTo>
                  <a:lnTo>
                    <a:pt x="61" y="15"/>
                  </a:lnTo>
                  <a:lnTo>
                    <a:pt x="64" y="21"/>
                  </a:lnTo>
                  <a:lnTo>
                    <a:pt x="66" y="27"/>
                  </a:lnTo>
                  <a:lnTo>
                    <a:pt x="66" y="33"/>
                  </a:lnTo>
                  <a:lnTo>
                    <a:pt x="66" y="100"/>
                  </a:lnTo>
                  <a:lnTo>
                    <a:pt x="66" y="100"/>
                  </a:lnTo>
                  <a:lnTo>
                    <a:pt x="66" y="106"/>
                  </a:lnTo>
                  <a:lnTo>
                    <a:pt x="64" y="112"/>
                  </a:lnTo>
                  <a:lnTo>
                    <a:pt x="61" y="118"/>
                  </a:lnTo>
                  <a:lnTo>
                    <a:pt x="57" y="123"/>
                  </a:lnTo>
                  <a:lnTo>
                    <a:pt x="52" y="127"/>
                  </a:lnTo>
                  <a:lnTo>
                    <a:pt x="47" y="130"/>
                  </a:lnTo>
                  <a:lnTo>
                    <a:pt x="41" y="132"/>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1" name="Freeform 140">
              <a:extLst>
                <a:ext uri="{FF2B5EF4-FFF2-40B4-BE49-F238E27FC236}">
                  <a16:creationId xmlns:a16="http://schemas.microsoft.com/office/drawing/2014/main" id="{D2356695-68BF-4996-B453-5A3A65FF76EC}"/>
                </a:ext>
              </a:extLst>
            </p:cNvPr>
            <p:cNvSpPr>
              <a:spLocks/>
            </p:cNvSpPr>
            <p:nvPr/>
          </p:nvSpPr>
          <p:spPr bwMode="auto">
            <a:xfrm>
              <a:off x="8540750" y="2709863"/>
              <a:ext cx="14288" cy="30163"/>
            </a:xfrm>
            <a:custGeom>
              <a:avLst/>
              <a:gdLst>
                <a:gd name="T0" fmla="*/ 33 w 66"/>
                <a:gd name="T1" fmla="*/ 133 h 133"/>
                <a:gd name="T2" fmla="*/ 33 w 66"/>
                <a:gd name="T3" fmla="*/ 133 h 133"/>
                <a:gd name="T4" fmla="*/ 27 w 66"/>
                <a:gd name="T5" fmla="*/ 132 h 133"/>
                <a:gd name="T6" fmla="*/ 21 w 66"/>
                <a:gd name="T7" fmla="*/ 130 h 133"/>
                <a:gd name="T8" fmla="*/ 15 w 66"/>
                <a:gd name="T9" fmla="*/ 127 h 133"/>
                <a:gd name="T10" fmla="*/ 11 w 66"/>
                <a:gd name="T11" fmla="*/ 122 h 133"/>
                <a:gd name="T12" fmla="*/ 6 w 66"/>
                <a:gd name="T13" fmla="*/ 117 h 133"/>
                <a:gd name="T14" fmla="*/ 3 w 66"/>
                <a:gd name="T15" fmla="*/ 112 h 133"/>
                <a:gd name="T16" fmla="*/ 1 w 66"/>
                <a:gd name="T17" fmla="*/ 106 h 133"/>
                <a:gd name="T18" fmla="*/ 0 w 66"/>
                <a:gd name="T19" fmla="*/ 100 h 133"/>
                <a:gd name="T20" fmla="*/ 0 w 66"/>
                <a:gd name="T21" fmla="*/ 33 h 133"/>
                <a:gd name="T22" fmla="*/ 0 w 66"/>
                <a:gd name="T23" fmla="*/ 33 h 133"/>
                <a:gd name="T24" fmla="*/ 1 w 66"/>
                <a:gd name="T25" fmla="*/ 26 h 133"/>
                <a:gd name="T26" fmla="*/ 3 w 66"/>
                <a:gd name="T27" fmla="*/ 20 h 133"/>
                <a:gd name="T28" fmla="*/ 6 w 66"/>
                <a:gd name="T29" fmla="*/ 15 h 133"/>
                <a:gd name="T30" fmla="*/ 11 w 66"/>
                <a:gd name="T31" fmla="*/ 10 h 133"/>
                <a:gd name="T32" fmla="*/ 15 w 66"/>
                <a:gd name="T33" fmla="*/ 5 h 133"/>
                <a:gd name="T34" fmla="*/ 21 w 66"/>
                <a:gd name="T35" fmla="*/ 2 h 133"/>
                <a:gd name="T36" fmla="*/ 27 w 66"/>
                <a:gd name="T37" fmla="*/ 0 h 133"/>
                <a:gd name="T38" fmla="*/ 33 w 66"/>
                <a:gd name="T39" fmla="*/ 0 h 133"/>
                <a:gd name="T40" fmla="*/ 33 w 66"/>
                <a:gd name="T41" fmla="*/ 0 h 133"/>
                <a:gd name="T42" fmla="*/ 41 w 66"/>
                <a:gd name="T43" fmla="*/ 0 h 133"/>
                <a:gd name="T44" fmla="*/ 47 w 66"/>
                <a:gd name="T45" fmla="*/ 2 h 133"/>
                <a:gd name="T46" fmla="*/ 52 w 66"/>
                <a:gd name="T47" fmla="*/ 5 h 133"/>
                <a:gd name="T48" fmla="*/ 57 w 66"/>
                <a:gd name="T49" fmla="*/ 10 h 133"/>
                <a:gd name="T50" fmla="*/ 61 w 66"/>
                <a:gd name="T51" fmla="*/ 15 h 133"/>
                <a:gd name="T52" fmla="*/ 64 w 66"/>
                <a:gd name="T53" fmla="*/ 20 h 133"/>
                <a:gd name="T54" fmla="*/ 66 w 66"/>
                <a:gd name="T55" fmla="*/ 26 h 133"/>
                <a:gd name="T56" fmla="*/ 66 w 66"/>
                <a:gd name="T57" fmla="*/ 33 h 133"/>
                <a:gd name="T58" fmla="*/ 66 w 66"/>
                <a:gd name="T59" fmla="*/ 100 h 133"/>
                <a:gd name="T60" fmla="*/ 66 w 66"/>
                <a:gd name="T61" fmla="*/ 100 h 133"/>
                <a:gd name="T62" fmla="*/ 66 w 66"/>
                <a:gd name="T63" fmla="*/ 106 h 133"/>
                <a:gd name="T64" fmla="*/ 64 w 66"/>
                <a:gd name="T65" fmla="*/ 112 h 133"/>
                <a:gd name="T66" fmla="*/ 61 w 66"/>
                <a:gd name="T67" fmla="*/ 117 h 133"/>
                <a:gd name="T68" fmla="*/ 57 w 66"/>
                <a:gd name="T69" fmla="*/ 122 h 133"/>
                <a:gd name="T70" fmla="*/ 52 w 66"/>
                <a:gd name="T71" fmla="*/ 127 h 133"/>
                <a:gd name="T72" fmla="*/ 47 w 66"/>
                <a:gd name="T73" fmla="*/ 130 h 133"/>
                <a:gd name="T74" fmla="*/ 41 w 66"/>
                <a:gd name="T75" fmla="*/ 132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2"/>
                  </a:lnTo>
                  <a:lnTo>
                    <a:pt x="21" y="130"/>
                  </a:lnTo>
                  <a:lnTo>
                    <a:pt x="15" y="127"/>
                  </a:lnTo>
                  <a:lnTo>
                    <a:pt x="11" y="122"/>
                  </a:lnTo>
                  <a:lnTo>
                    <a:pt x="6" y="117"/>
                  </a:lnTo>
                  <a:lnTo>
                    <a:pt x="3" y="112"/>
                  </a:lnTo>
                  <a:lnTo>
                    <a:pt x="1" y="106"/>
                  </a:lnTo>
                  <a:lnTo>
                    <a:pt x="0" y="100"/>
                  </a:lnTo>
                  <a:lnTo>
                    <a:pt x="0" y="33"/>
                  </a:lnTo>
                  <a:lnTo>
                    <a:pt x="0" y="33"/>
                  </a:lnTo>
                  <a:lnTo>
                    <a:pt x="1" y="26"/>
                  </a:lnTo>
                  <a:lnTo>
                    <a:pt x="3" y="20"/>
                  </a:lnTo>
                  <a:lnTo>
                    <a:pt x="6" y="15"/>
                  </a:lnTo>
                  <a:lnTo>
                    <a:pt x="11" y="10"/>
                  </a:lnTo>
                  <a:lnTo>
                    <a:pt x="15" y="5"/>
                  </a:lnTo>
                  <a:lnTo>
                    <a:pt x="21" y="2"/>
                  </a:lnTo>
                  <a:lnTo>
                    <a:pt x="27" y="0"/>
                  </a:lnTo>
                  <a:lnTo>
                    <a:pt x="33" y="0"/>
                  </a:lnTo>
                  <a:lnTo>
                    <a:pt x="33" y="0"/>
                  </a:lnTo>
                  <a:lnTo>
                    <a:pt x="41" y="0"/>
                  </a:lnTo>
                  <a:lnTo>
                    <a:pt x="47" y="2"/>
                  </a:lnTo>
                  <a:lnTo>
                    <a:pt x="52" y="5"/>
                  </a:lnTo>
                  <a:lnTo>
                    <a:pt x="57" y="10"/>
                  </a:lnTo>
                  <a:lnTo>
                    <a:pt x="61" y="15"/>
                  </a:lnTo>
                  <a:lnTo>
                    <a:pt x="64" y="20"/>
                  </a:lnTo>
                  <a:lnTo>
                    <a:pt x="66" y="26"/>
                  </a:lnTo>
                  <a:lnTo>
                    <a:pt x="66" y="33"/>
                  </a:lnTo>
                  <a:lnTo>
                    <a:pt x="66" y="100"/>
                  </a:lnTo>
                  <a:lnTo>
                    <a:pt x="66" y="100"/>
                  </a:lnTo>
                  <a:lnTo>
                    <a:pt x="66" y="106"/>
                  </a:lnTo>
                  <a:lnTo>
                    <a:pt x="64" y="112"/>
                  </a:lnTo>
                  <a:lnTo>
                    <a:pt x="61" y="117"/>
                  </a:lnTo>
                  <a:lnTo>
                    <a:pt x="57" y="122"/>
                  </a:lnTo>
                  <a:lnTo>
                    <a:pt x="52" y="127"/>
                  </a:lnTo>
                  <a:lnTo>
                    <a:pt x="47" y="130"/>
                  </a:lnTo>
                  <a:lnTo>
                    <a:pt x="41" y="132"/>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2" name="Freeform 141">
              <a:extLst>
                <a:ext uri="{FF2B5EF4-FFF2-40B4-BE49-F238E27FC236}">
                  <a16:creationId xmlns:a16="http://schemas.microsoft.com/office/drawing/2014/main" id="{5FBFB3EA-3912-4B11-8233-B10AB683534B}"/>
                </a:ext>
              </a:extLst>
            </p:cNvPr>
            <p:cNvSpPr>
              <a:spLocks/>
            </p:cNvSpPr>
            <p:nvPr/>
          </p:nvSpPr>
          <p:spPr bwMode="auto">
            <a:xfrm>
              <a:off x="8518525" y="2724150"/>
              <a:ext cx="60325" cy="104775"/>
            </a:xfrm>
            <a:custGeom>
              <a:avLst/>
              <a:gdLst>
                <a:gd name="T0" fmla="*/ 105 w 265"/>
                <a:gd name="T1" fmla="*/ 459 h 462"/>
                <a:gd name="T2" fmla="*/ 59 w 265"/>
                <a:gd name="T3" fmla="*/ 440 h 462"/>
                <a:gd name="T4" fmla="*/ 23 w 265"/>
                <a:gd name="T5" fmla="*/ 404 h 462"/>
                <a:gd name="T6" fmla="*/ 3 w 265"/>
                <a:gd name="T7" fmla="*/ 357 h 462"/>
                <a:gd name="T8" fmla="*/ 1 w 265"/>
                <a:gd name="T9" fmla="*/ 324 h 462"/>
                <a:gd name="T10" fmla="*/ 14 w 265"/>
                <a:gd name="T11" fmla="*/ 303 h 462"/>
                <a:gd name="T12" fmla="*/ 33 w 265"/>
                <a:gd name="T13" fmla="*/ 297 h 462"/>
                <a:gd name="T14" fmla="*/ 57 w 265"/>
                <a:gd name="T15" fmla="*/ 307 h 462"/>
                <a:gd name="T16" fmla="*/ 66 w 265"/>
                <a:gd name="T17" fmla="*/ 330 h 462"/>
                <a:gd name="T18" fmla="*/ 69 w 265"/>
                <a:gd name="T19" fmla="*/ 350 h 462"/>
                <a:gd name="T20" fmla="*/ 86 w 265"/>
                <a:gd name="T21" fmla="*/ 376 h 462"/>
                <a:gd name="T22" fmla="*/ 113 w 265"/>
                <a:gd name="T23" fmla="*/ 393 h 462"/>
                <a:gd name="T24" fmla="*/ 132 w 265"/>
                <a:gd name="T25" fmla="*/ 396 h 462"/>
                <a:gd name="T26" fmla="*/ 158 w 265"/>
                <a:gd name="T27" fmla="*/ 391 h 462"/>
                <a:gd name="T28" fmla="*/ 187 w 265"/>
                <a:gd name="T29" fmla="*/ 367 h 462"/>
                <a:gd name="T30" fmla="*/ 197 w 265"/>
                <a:gd name="T31" fmla="*/ 343 h 462"/>
                <a:gd name="T32" fmla="*/ 199 w 265"/>
                <a:gd name="T33" fmla="*/ 324 h 462"/>
                <a:gd name="T34" fmla="*/ 190 w 265"/>
                <a:gd name="T35" fmla="*/ 299 h 462"/>
                <a:gd name="T36" fmla="*/ 164 w 265"/>
                <a:gd name="T37" fmla="*/ 272 h 462"/>
                <a:gd name="T38" fmla="*/ 140 w 265"/>
                <a:gd name="T39" fmla="*/ 265 h 462"/>
                <a:gd name="T40" fmla="*/ 105 w 265"/>
                <a:gd name="T41" fmla="*/ 262 h 462"/>
                <a:gd name="T42" fmla="*/ 59 w 265"/>
                <a:gd name="T43" fmla="*/ 241 h 462"/>
                <a:gd name="T44" fmla="*/ 23 w 265"/>
                <a:gd name="T45" fmla="*/ 206 h 462"/>
                <a:gd name="T46" fmla="*/ 3 w 265"/>
                <a:gd name="T47" fmla="*/ 158 h 462"/>
                <a:gd name="T48" fmla="*/ 1 w 265"/>
                <a:gd name="T49" fmla="*/ 118 h 462"/>
                <a:gd name="T50" fmla="*/ 16 w 265"/>
                <a:gd name="T51" fmla="*/ 69 h 462"/>
                <a:gd name="T52" fmla="*/ 48 w 265"/>
                <a:gd name="T53" fmla="*/ 30 h 462"/>
                <a:gd name="T54" fmla="*/ 93 w 265"/>
                <a:gd name="T55" fmla="*/ 5 h 462"/>
                <a:gd name="T56" fmla="*/ 132 w 265"/>
                <a:gd name="T57" fmla="*/ 0 h 462"/>
                <a:gd name="T58" fmla="*/ 184 w 265"/>
                <a:gd name="T59" fmla="*/ 10 h 462"/>
                <a:gd name="T60" fmla="*/ 226 w 265"/>
                <a:gd name="T61" fmla="*/ 38 h 462"/>
                <a:gd name="T62" fmla="*/ 254 w 265"/>
                <a:gd name="T63" fmla="*/ 80 h 462"/>
                <a:gd name="T64" fmla="*/ 265 w 265"/>
                <a:gd name="T65" fmla="*/ 131 h 462"/>
                <a:gd name="T66" fmla="*/ 260 w 265"/>
                <a:gd name="T67" fmla="*/ 150 h 462"/>
                <a:gd name="T68" fmla="*/ 239 w 265"/>
                <a:gd name="T69" fmla="*/ 164 h 462"/>
                <a:gd name="T70" fmla="*/ 219 w 265"/>
                <a:gd name="T71" fmla="*/ 162 h 462"/>
                <a:gd name="T72" fmla="*/ 202 w 265"/>
                <a:gd name="T73" fmla="*/ 144 h 462"/>
                <a:gd name="T74" fmla="*/ 199 w 265"/>
                <a:gd name="T75" fmla="*/ 125 h 462"/>
                <a:gd name="T76" fmla="*/ 190 w 265"/>
                <a:gd name="T77" fmla="*/ 100 h 462"/>
                <a:gd name="T78" fmla="*/ 164 w 265"/>
                <a:gd name="T79" fmla="*/ 73 h 462"/>
                <a:gd name="T80" fmla="*/ 140 w 265"/>
                <a:gd name="T81" fmla="*/ 66 h 462"/>
                <a:gd name="T82" fmla="*/ 119 w 265"/>
                <a:gd name="T83" fmla="*/ 67 h 462"/>
                <a:gd name="T84" fmla="*/ 95 w 265"/>
                <a:gd name="T85" fmla="*/ 76 h 462"/>
                <a:gd name="T86" fmla="*/ 71 w 265"/>
                <a:gd name="T87" fmla="*/ 106 h 462"/>
                <a:gd name="T88" fmla="*/ 66 w 265"/>
                <a:gd name="T89" fmla="*/ 131 h 462"/>
                <a:gd name="T90" fmla="*/ 69 w 265"/>
                <a:gd name="T91" fmla="*/ 151 h 462"/>
                <a:gd name="T92" fmla="*/ 86 w 265"/>
                <a:gd name="T93" fmla="*/ 179 h 462"/>
                <a:gd name="T94" fmla="*/ 113 w 265"/>
                <a:gd name="T95" fmla="*/ 194 h 462"/>
                <a:gd name="T96" fmla="*/ 132 w 265"/>
                <a:gd name="T97" fmla="*/ 197 h 462"/>
                <a:gd name="T98" fmla="*/ 184 w 265"/>
                <a:gd name="T99" fmla="*/ 208 h 462"/>
                <a:gd name="T100" fmla="*/ 226 w 265"/>
                <a:gd name="T101" fmla="*/ 237 h 462"/>
                <a:gd name="T102" fmla="*/ 254 w 265"/>
                <a:gd name="T103" fmla="*/ 278 h 462"/>
                <a:gd name="T104" fmla="*/ 265 w 265"/>
                <a:gd name="T105" fmla="*/ 330 h 462"/>
                <a:gd name="T106" fmla="*/ 259 w 265"/>
                <a:gd name="T107" fmla="*/ 369 h 462"/>
                <a:gd name="T108" fmla="*/ 235 w 265"/>
                <a:gd name="T109" fmla="*/ 414 h 462"/>
                <a:gd name="T110" fmla="*/ 195 w 265"/>
                <a:gd name="T111" fmla="*/ 447 h 462"/>
                <a:gd name="T112" fmla="*/ 146 w 265"/>
                <a:gd name="T113" fmla="*/ 461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462">
                  <a:moveTo>
                    <a:pt x="132" y="462"/>
                  </a:moveTo>
                  <a:lnTo>
                    <a:pt x="132" y="462"/>
                  </a:lnTo>
                  <a:lnTo>
                    <a:pt x="119" y="461"/>
                  </a:lnTo>
                  <a:lnTo>
                    <a:pt x="105" y="459"/>
                  </a:lnTo>
                  <a:lnTo>
                    <a:pt x="93" y="456"/>
                  </a:lnTo>
                  <a:lnTo>
                    <a:pt x="82" y="452"/>
                  </a:lnTo>
                  <a:lnTo>
                    <a:pt x="69" y="447"/>
                  </a:lnTo>
                  <a:lnTo>
                    <a:pt x="59" y="440"/>
                  </a:lnTo>
                  <a:lnTo>
                    <a:pt x="48" y="432"/>
                  </a:lnTo>
                  <a:lnTo>
                    <a:pt x="39" y="424"/>
                  </a:lnTo>
                  <a:lnTo>
                    <a:pt x="31" y="414"/>
                  </a:lnTo>
                  <a:lnTo>
                    <a:pt x="23" y="404"/>
                  </a:lnTo>
                  <a:lnTo>
                    <a:pt x="16" y="393"/>
                  </a:lnTo>
                  <a:lnTo>
                    <a:pt x="10" y="382"/>
                  </a:lnTo>
                  <a:lnTo>
                    <a:pt x="6" y="369"/>
                  </a:lnTo>
                  <a:lnTo>
                    <a:pt x="3" y="357"/>
                  </a:lnTo>
                  <a:lnTo>
                    <a:pt x="1" y="343"/>
                  </a:lnTo>
                  <a:lnTo>
                    <a:pt x="0" y="330"/>
                  </a:lnTo>
                  <a:lnTo>
                    <a:pt x="0" y="330"/>
                  </a:lnTo>
                  <a:lnTo>
                    <a:pt x="1" y="324"/>
                  </a:lnTo>
                  <a:lnTo>
                    <a:pt x="3" y="317"/>
                  </a:lnTo>
                  <a:lnTo>
                    <a:pt x="6" y="311"/>
                  </a:lnTo>
                  <a:lnTo>
                    <a:pt x="10" y="307"/>
                  </a:lnTo>
                  <a:lnTo>
                    <a:pt x="14" y="303"/>
                  </a:lnTo>
                  <a:lnTo>
                    <a:pt x="21" y="300"/>
                  </a:lnTo>
                  <a:lnTo>
                    <a:pt x="27" y="298"/>
                  </a:lnTo>
                  <a:lnTo>
                    <a:pt x="33" y="297"/>
                  </a:lnTo>
                  <a:lnTo>
                    <a:pt x="33" y="297"/>
                  </a:lnTo>
                  <a:lnTo>
                    <a:pt x="40" y="298"/>
                  </a:lnTo>
                  <a:lnTo>
                    <a:pt x="46" y="300"/>
                  </a:lnTo>
                  <a:lnTo>
                    <a:pt x="52" y="303"/>
                  </a:lnTo>
                  <a:lnTo>
                    <a:pt x="57" y="307"/>
                  </a:lnTo>
                  <a:lnTo>
                    <a:pt x="61" y="311"/>
                  </a:lnTo>
                  <a:lnTo>
                    <a:pt x="64" y="317"/>
                  </a:lnTo>
                  <a:lnTo>
                    <a:pt x="66" y="324"/>
                  </a:lnTo>
                  <a:lnTo>
                    <a:pt x="66" y="330"/>
                  </a:lnTo>
                  <a:lnTo>
                    <a:pt x="66" y="330"/>
                  </a:lnTo>
                  <a:lnTo>
                    <a:pt x="67" y="337"/>
                  </a:lnTo>
                  <a:lnTo>
                    <a:pt x="68" y="343"/>
                  </a:lnTo>
                  <a:lnTo>
                    <a:pt x="69" y="350"/>
                  </a:lnTo>
                  <a:lnTo>
                    <a:pt x="71" y="356"/>
                  </a:lnTo>
                  <a:lnTo>
                    <a:pt x="74" y="362"/>
                  </a:lnTo>
                  <a:lnTo>
                    <a:pt x="77" y="367"/>
                  </a:lnTo>
                  <a:lnTo>
                    <a:pt x="86" y="376"/>
                  </a:lnTo>
                  <a:lnTo>
                    <a:pt x="95" y="385"/>
                  </a:lnTo>
                  <a:lnTo>
                    <a:pt x="101" y="388"/>
                  </a:lnTo>
                  <a:lnTo>
                    <a:pt x="106" y="391"/>
                  </a:lnTo>
                  <a:lnTo>
                    <a:pt x="113" y="393"/>
                  </a:lnTo>
                  <a:lnTo>
                    <a:pt x="119" y="395"/>
                  </a:lnTo>
                  <a:lnTo>
                    <a:pt x="126" y="396"/>
                  </a:lnTo>
                  <a:lnTo>
                    <a:pt x="132" y="396"/>
                  </a:lnTo>
                  <a:lnTo>
                    <a:pt x="132" y="396"/>
                  </a:lnTo>
                  <a:lnTo>
                    <a:pt x="140" y="396"/>
                  </a:lnTo>
                  <a:lnTo>
                    <a:pt x="146" y="395"/>
                  </a:lnTo>
                  <a:lnTo>
                    <a:pt x="152" y="393"/>
                  </a:lnTo>
                  <a:lnTo>
                    <a:pt x="158" y="391"/>
                  </a:lnTo>
                  <a:lnTo>
                    <a:pt x="164" y="388"/>
                  </a:lnTo>
                  <a:lnTo>
                    <a:pt x="170" y="385"/>
                  </a:lnTo>
                  <a:lnTo>
                    <a:pt x="179" y="376"/>
                  </a:lnTo>
                  <a:lnTo>
                    <a:pt x="187" y="367"/>
                  </a:lnTo>
                  <a:lnTo>
                    <a:pt x="190" y="362"/>
                  </a:lnTo>
                  <a:lnTo>
                    <a:pt x="193" y="356"/>
                  </a:lnTo>
                  <a:lnTo>
                    <a:pt x="195" y="350"/>
                  </a:lnTo>
                  <a:lnTo>
                    <a:pt x="197" y="343"/>
                  </a:lnTo>
                  <a:lnTo>
                    <a:pt x="199" y="337"/>
                  </a:lnTo>
                  <a:lnTo>
                    <a:pt x="199" y="330"/>
                  </a:lnTo>
                  <a:lnTo>
                    <a:pt x="199" y="330"/>
                  </a:lnTo>
                  <a:lnTo>
                    <a:pt x="199" y="324"/>
                  </a:lnTo>
                  <a:lnTo>
                    <a:pt x="197" y="316"/>
                  </a:lnTo>
                  <a:lnTo>
                    <a:pt x="195" y="310"/>
                  </a:lnTo>
                  <a:lnTo>
                    <a:pt x="193" y="304"/>
                  </a:lnTo>
                  <a:lnTo>
                    <a:pt x="190" y="299"/>
                  </a:lnTo>
                  <a:lnTo>
                    <a:pt x="187" y="293"/>
                  </a:lnTo>
                  <a:lnTo>
                    <a:pt x="179" y="283"/>
                  </a:lnTo>
                  <a:lnTo>
                    <a:pt x="170" y="275"/>
                  </a:lnTo>
                  <a:lnTo>
                    <a:pt x="164" y="272"/>
                  </a:lnTo>
                  <a:lnTo>
                    <a:pt x="158" y="269"/>
                  </a:lnTo>
                  <a:lnTo>
                    <a:pt x="152" y="267"/>
                  </a:lnTo>
                  <a:lnTo>
                    <a:pt x="146" y="266"/>
                  </a:lnTo>
                  <a:lnTo>
                    <a:pt x="140" y="265"/>
                  </a:lnTo>
                  <a:lnTo>
                    <a:pt x="132" y="264"/>
                  </a:lnTo>
                  <a:lnTo>
                    <a:pt x="132" y="264"/>
                  </a:lnTo>
                  <a:lnTo>
                    <a:pt x="119" y="264"/>
                  </a:lnTo>
                  <a:lnTo>
                    <a:pt x="105" y="262"/>
                  </a:lnTo>
                  <a:lnTo>
                    <a:pt x="93" y="258"/>
                  </a:lnTo>
                  <a:lnTo>
                    <a:pt x="82" y="253"/>
                  </a:lnTo>
                  <a:lnTo>
                    <a:pt x="69" y="248"/>
                  </a:lnTo>
                  <a:lnTo>
                    <a:pt x="59" y="241"/>
                  </a:lnTo>
                  <a:lnTo>
                    <a:pt x="48" y="234"/>
                  </a:lnTo>
                  <a:lnTo>
                    <a:pt x="39" y="225"/>
                  </a:lnTo>
                  <a:lnTo>
                    <a:pt x="31" y="216"/>
                  </a:lnTo>
                  <a:lnTo>
                    <a:pt x="23" y="206"/>
                  </a:lnTo>
                  <a:lnTo>
                    <a:pt x="16" y="194"/>
                  </a:lnTo>
                  <a:lnTo>
                    <a:pt x="10" y="183"/>
                  </a:lnTo>
                  <a:lnTo>
                    <a:pt x="6" y="170"/>
                  </a:lnTo>
                  <a:lnTo>
                    <a:pt x="3" y="158"/>
                  </a:lnTo>
                  <a:lnTo>
                    <a:pt x="1" y="146"/>
                  </a:lnTo>
                  <a:lnTo>
                    <a:pt x="0" y="131"/>
                  </a:lnTo>
                  <a:lnTo>
                    <a:pt x="0" y="131"/>
                  </a:lnTo>
                  <a:lnTo>
                    <a:pt x="1" y="118"/>
                  </a:lnTo>
                  <a:lnTo>
                    <a:pt x="3" y="105"/>
                  </a:lnTo>
                  <a:lnTo>
                    <a:pt x="6" y="92"/>
                  </a:lnTo>
                  <a:lnTo>
                    <a:pt x="10" y="80"/>
                  </a:lnTo>
                  <a:lnTo>
                    <a:pt x="16" y="69"/>
                  </a:lnTo>
                  <a:lnTo>
                    <a:pt x="23" y="57"/>
                  </a:lnTo>
                  <a:lnTo>
                    <a:pt x="31" y="47"/>
                  </a:lnTo>
                  <a:lnTo>
                    <a:pt x="39" y="38"/>
                  </a:lnTo>
                  <a:lnTo>
                    <a:pt x="48" y="30"/>
                  </a:lnTo>
                  <a:lnTo>
                    <a:pt x="59" y="22"/>
                  </a:lnTo>
                  <a:lnTo>
                    <a:pt x="69" y="15"/>
                  </a:lnTo>
                  <a:lnTo>
                    <a:pt x="82" y="10"/>
                  </a:lnTo>
                  <a:lnTo>
                    <a:pt x="93" y="5"/>
                  </a:lnTo>
                  <a:lnTo>
                    <a:pt x="105" y="2"/>
                  </a:lnTo>
                  <a:lnTo>
                    <a:pt x="119" y="0"/>
                  </a:lnTo>
                  <a:lnTo>
                    <a:pt x="132" y="0"/>
                  </a:lnTo>
                  <a:lnTo>
                    <a:pt x="132" y="0"/>
                  </a:lnTo>
                  <a:lnTo>
                    <a:pt x="146" y="0"/>
                  </a:lnTo>
                  <a:lnTo>
                    <a:pt x="159" y="2"/>
                  </a:lnTo>
                  <a:lnTo>
                    <a:pt x="172" y="5"/>
                  </a:lnTo>
                  <a:lnTo>
                    <a:pt x="184" y="10"/>
                  </a:lnTo>
                  <a:lnTo>
                    <a:pt x="195" y="15"/>
                  </a:lnTo>
                  <a:lnTo>
                    <a:pt x="207" y="22"/>
                  </a:lnTo>
                  <a:lnTo>
                    <a:pt x="216" y="30"/>
                  </a:lnTo>
                  <a:lnTo>
                    <a:pt x="226" y="38"/>
                  </a:lnTo>
                  <a:lnTo>
                    <a:pt x="235" y="47"/>
                  </a:lnTo>
                  <a:lnTo>
                    <a:pt x="242" y="57"/>
                  </a:lnTo>
                  <a:lnTo>
                    <a:pt x="249" y="69"/>
                  </a:lnTo>
                  <a:lnTo>
                    <a:pt x="254" y="80"/>
                  </a:lnTo>
                  <a:lnTo>
                    <a:pt x="259" y="92"/>
                  </a:lnTo>
                  <a:lnTo>
                    <a:pt x="262" y="105"/>
                  </a:lnTo>
                  <a:lnTo>
                    <a:pt x="264" y="118"/>
                  </a:lnTo>
                  <a:lnTo>
                    <a:pt x="265" y="131"/>
                  </a:lnTo>
                  <a:lnTo>
                    <a:pt x="265" y="131"/>
                  </a:lnTo>
                  <a:lnTo>
                    <a:pt x="264" y="138"/>
                  </a:lnTo>
                  <a:lnTo>
                    <a:pt x="263" y="144"/>
                  </a:lnTo>
                  <a:lnTo>
                    <a:pt x="260" y="150"/>
                  </a:lnTo>
                  <a:lnTo>
                    <a:pt x="255" y="155"/>
                  </a:lnTo>
                  <a:lnTo>
                    <a:pt x="250" y="159"/>
                  </a:lnTo>
                  <a:lnTo>
                    <a:pt x="245" y="162"/>
                  </a:lnTo>
                  <a:lnTo>
                    <a:pt x="239" y="164"/>
                  </a:lnTo>
                  <a:lnTo>
                    <a:pt x="232" y="164"/>
                  </a:lnTo>
                  <a:lnTo>
                    <a:pt x="232" y="164"/>
                  </a:lnTo>
                  <a:lnTo>
                    <a:pt x="225" y="164"/>
                  </a:lnTo>
                  <a:lnTo>
                    <a:pt x="219" y="162"/>
                  </a:lnTo>
                  <a:lnTo>
                    <a:pt x="213" y="159"/>
                  </a:lnTo>
                  <a:lnTo>
                    <a:pt x="208" y="155"/>
                  </a:lnTo>
                  <a:lnTo>
                    <a:pt x="205" y="150"/>
                  </a:lnTo>
                  <a:lnTo>
                    <a:pt x="202" y="144"/>
                  </a:lnTo>
                  <a:lnTo>
                    <a:pt x="200" y="138"/>
                  </a:lnTo>
                  <a:lnTo>
                    <a:pt x="199" y="131"/>
                  </a:lnTo>
                  <a:lnTo>
                    <a:pt x="199" y="131"/>
                  </a:lnTo>
                  <a:lnTo>
                    <a:pt x="199" y="125"/>
                  </a:lnTo>
                  <a:lnTo>
                    <a:pt x="197" y="119"/>
                  </a:lnTo>
                  <a:lnTo>
                    <a:pt x="195" y="111"/>
                  </a:lnTo>
                  <a:lnTo>
                    <a:pt x="193" y="106"/>
                  </a:lnTo>
                  <a:lnTo>
                    <a:pt x="190" y="100"/>
                  </a:lnTo>
                  <a:lnTo>
                    <a:pt x="187" y="95"/>
                  </a:lnTo>
                  <a:lnTo>
                    <a:pt x="179" y="84"/>
                  </a:lnTo>
                  <a:lnTo>
                    <a:pt x="170" y="76"/>
                  </a:lnTo>
                  <a:lnTo>
                    <a:pt x="164" y="73"/>
                  </a:lnTo>
                  <a:lnTo>
                    <a:pt x="158" y="71"/>
                  </a:lnTo>
                  <a:lnTo>
                    <a:pt x="152" y="68"/>
                  </a:lnTo>
                  <a:lnTo>
                    <a:pt x="146" y="67"/>
                  </a:lnTo>
                  <a:lnTo>
                    <a:pt x="140" y="66"/>
                  </a:lnTo>
                  <a:lnTo>
                    <a:pt x="132" y="66"/>
                  </a:lnTo>
                  <a:lnTo>
                    <a:pt x="132" y="66"/>
                  </a:lnTo>
                  <a:lnTo>
                    <a:pt x="126" y="66"/>
                  </a:lnTo>
                  <a:lnTo>
                    <a:pt x="119" y="67"/>
                  </a:lnTo>
                  <a:lnTo>
                    <a:pt x="113" y="68"/>
                  </a:lnTo>
                  <a:lnTo>
                    <a:pt x="106" y="71"/>
                  </a:lnTo>
                  <a:lnTo>
                    <a:pt x="101" y="73"/>
                  </a:lnTo>
                  <a:lnTo>
                    <a:pt x="95" y="76"/>
                  </a:lnTo>
                  <a:lnTo>
                    <a:pt x="86" y="84"/>
                  </a:lnTo>
                  <a:lnTo>
                    <a:pt x="77" y="95"/>
                  </a:lnTo>
                  <a:lnTo>
                    <a:pt x="74" y="100"/>
                  </a:lnTo>
                  <a:lnTo>
                    <a:pt x="71" y="106"/>
                  </a:lnTo>
                  <a:lnTo>
                    <a:pt x="69" y="111"/>
                  </a:lnTo>
                  <a:lnTo>
                    <a:pt x="68" y="119"/>
                  </a:lnTo>
                  <a:lnTo>
                    <a:pt x="67" y="125"/>
                  </a:lnTo>
                  <a:lnTo>
                    <a:pt x="66" y="131"/>
                  </a:lnTo>
                  <a:lnTo>
                    <a:pt x="66" y="131"/>
                  </a:lnTo>
                  <a:lnTo>
                    <a:pt x="67" y="138"/>
                  </a:lnTo>
                  <a:lnTo>
                    <a:pt x="68" y="144"/>
                  </a:lnTo>
                  <a:lnTo>
                    <a:pt x="69" y="151"/>
                  </a:lnTo>
                  <a:lnTo>
                    <a:pt x="71" y="157"/>
                  </a:lnTo>
                  <a:lnTo>
                    <a:pt x="74" y="163"/>
                  </a:lnTo>
                  <a:lnTo>
                    <a:pt x="77" y="168"/>
                  </a:lnTo>
                  <a:lnTo>
                    <a:pt x="86" y="179"/>
                  </a:lnTo>
                  <a:lnTo>
                    <a:pt x="95" y="186"/>
                  </a:lnTo>
                  <a:lnTo>
                    <a:pt x="101" y="190"/>
                  </a:lnTo>
                  <a:lnTo>
                    <a:pt x="106" y="192"/>
                  </a:lnTo>
                  <a:lnTo>
                    <a:pt x="113" y="194"/>
                  </a:lnTo>
                  <a:lnTo>
                    <a:pt x="119" y="196"/>
                  </a:lnTo>
                  <a:lnTo>
                    <a:pt x="126" y="197"/>
                  </a:lnTo>
                  <a:lnTo>
                    <a:pt x="132" y="197"/>
                  </a:lnTo>
                  <a:lnTo>
                    <a:pt x="132" y="197"/>
                  </a:lnTo>
                  <a:lnTo>
                    <a:pt x="146" y="198"/>
                  </a:lnTo>
                  <a:lnTo>
                    <a:pt x="159" y="200"/>
                  </a:lnTo>
                  <a:lnTo>
                    <a:pt x="172" y="204"/>
                  </a:lnTo>
                  <a:lnTo>
                    <a:pt x="184" y="208"/>
                  </a:lnTo>
                  <a:lnTo>
                    <a:pt x="195" y="214"/>
                  </a:lnTo>
                  <a:lnTo>
                    <a:pt x="207" y="220"/>
                  </a:lnTo>
                  <a:lnTo>
                    <a:pt x="216" y="228"/>
                  </a:lnTo>
                  <a:lnTo>
                    <a:pt x="226" y="237"/>
                  </a:lnTo>
                  <a:lnTo>
                    <a:pt x="235" y="246"/>
                  </a:lnTo>
                  <a:lnTo>
                    <a:pt x="242" y="256"/>
                  </a:lnTo>
                  <a:lnTo>
                    <a:pt x="249" y="267"/>
                  </a:lnTo>
                  <a:lnTo>
                    <a:pt x="254" y="278"/>
                  </a:lnTo>
                  <a:lnTo>
                    <a:pt x="259" y="291"/>
                  </a:lnTo>
                  <a:lnTo>
                    <a:pt x="262" y="303"/>
                  </a:lnTo>
                  <a:lnTo>
                    <a:pt x="264" y="316"/>
                  </a:lnTo>
                  <a:lnTo>
                    <a:pt x="265" y="330"/>
                  </a:lnTo>
                  <a:lnTo>
                    <a:pt x="265" y="330"/>
                  </a:lnTo>
                  <a:lnTo>
                    <a:pt x="264" y="343"/>
                  </a:lnTo>
                  <a:lnTo>
                    <a:pt x="262" y="357"/>
                  </a:lnTo>
                  <a:lnTo>
                    <a:pt x="259" y="369"/>
                  </a:lnTo>
                  <a:lnTo>
                    <a:pt x="254" y="382"/>
                  </a:lnTo>
                  <a:lnTo>
                    <a:pt x="249" y="393"/>
                  </a:lnTo>
                  <a:lnTo>
                    <a:pt x="242" y="404"/>
                  </a:lnTo>
                  <a:lnTo>
                    <a:pt x="235" y="414"/>
                  </a:lnTo>
                  <a:lnTo>
                    <a:pt x="226" y="424"/>
                  </a:lnTo>
                  <a:lnTo>
                    <a:pt x="216" y="432"/>
                  </a:lnTo>
                  <a:lnTo>
                    <a:pt x="207" y="440"/>
                  </a:lnTo>
                  <a:lnTo>
                    <a:pt x="195" y="447"/>
                  </a:lnTo>
                  <a:lnTo>
                    <a:pt x="184" y="452"/>
                  </a:lnTo>
                  <a:lnTo>
                    <a:pt x="172" y="456"/>
                  </a:lnTo>
                  <a:lnTo>
                    <a:pt x="159" y="459"/>
                  </a:lnTo>
                  <a:lnTo>
                    <a:pt x="146" y="461"/>
                  </a:lnTo>
                  <a:lnTo>
                    <a:pt x="132" y="462"/>
                  </a:lnTo>
                  <a:lnTo>
                    <a:pt x="132"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3" name="Freeform 142">
              <a:extLst>
                <a:ext uri="{FF2B5EF4-FFF2-40B4-BE49-F238E27FC236}">
                  <a16:creationId xmlns:a16="http://schemas.microsoft.com/office/drawing/2014/main" id="{C11C88B6-C39F-4191-AAD1-05E1E14D42B7}"/>
                </a:ext>
              </a:extLst>
            </p:cNvPr>
            <p:cNvSpPr>
              <a:spLocks/>
            </p:cNvSpPr>
            <p:nvPr/>
          </p:nvSpPr>
          <p:spPr bwMode="auto">
            <a:xfrm>
              <a:off x="8435975" y="2657475"/>
              <a:ext cx="239713" cy="239713"/>
            </a:xfrm>
            <a:custGeom>
              <a:avLst/>
              <a:gdLst>
                <a:gd name="T0" fmla="*/ 475 w 1057"/>
                <a:gd name="T1" fmla="*/ 1057 h 1060"/>
                <a:gd name="T2" fmla="*/ 371 w 1057"/>
                <a:gd name="T3" fmla="*/ 1036 h 1060"/>
                <a:gd name="T4" fmla="*/ 277 w 1057"/>
                <a:gd name="T5" fmla="*/ 996 h 1060"/>
                <a:gd name="T6" fmla="*/ 192 w 1057"/>
                <a:gd name="T7" fmla="*/ 939 h 1060"/>
                <a:gd name="T8" fmla="*/ 121 w 1057"/>
                <a:gd name="T9" fmla="*/ 866 h 1060"/>
                <a:gd name="T10" fmla="*/ 64 w 1057"/>
                <a:gd name="T11" fmla="*/ 782 h 1060"/>
                <a:gd name="T12" fmla="*/ 23 w 1057"/>
                <a:gd name="T13" fmla="*/ 687 h 1060"/>
                <a:gd name="T14" fmla="*/ 3 w 1057"/>
                <a:gd name="T15" fmla="*/ 584 h 1060"/>
                <a:gd name="T16" fmla="*/ 1 w 1057"/>
                <a:gd name="T17" fmla="*/ 503 h 1060"/>
                <a:gd name="T18" fmla="*/ 16 w 1057"/>
                <a:gd name="T19" fmla="*/ 398 h 1060"/>
                <a:gd name="T20" fmla="*/ 51 w 1057"/>
                <a:gd name="T21" fmla="*/ 301 h 1060"/>
                <a:gd name="T22" fmla="*/ 105 w 1057"/>
                <a:gd name="T23" fmla="*/ 214 h 1060"/>
                <a:gd name="T24" fmla="*/ 173 w 1057"/>
                <a:gd name="T25" fmla="*/ 138 h 1060"/>
                <a:gd name="T26" fmla="*/ 254 w 1057"/>
                <a:gd name="T27" fmla="*/ 77 h 1060"/>
                <a:gd name="T28" fmla="*/ 347 w 1057"/>
                <a:gd name="T29" fmla="*/ 32 h 1060"/>
                <a:gd name="T30" fmla="*/ 448 w 1057"/>
                <a:gd name="T31" fmla="*/ 6 h 1060"/>
                <a:gd name="T32" fmla="*/ 528 w 1057"/>
                <a:gd name="T33" fmla="*/ 0 h 1060"/>
                <a:gd name="T34" fmla="*/ 567 w 1057"/>
                <a:gd name="T35" fmla="*/ 3 h 1060"/>
                <a:gd name="T36" fmla="*/ 588 w 1057"/>
                <a:gd name="T37" fmla="*/ 18 h 1060"/>
                <a:gd name="T38" fmla="*/ 594 w 1057"/>
                <a:gd name="T39" fmla="*/ 38 h 1060"/>
                <a:gd name="T40" fmla="*/ 583 w 1057"/>
                <a:gd name="T41" fmla="*/ 60 h 1060"/>
                <a:gd name="T42" fmla="*/ 562 w 1057"/>
                <a:gd name="T43" fmla="*/ 69 h 1060"/>
                <a:gd name="T44" fmla="*/ 542 w 1057"/>
                <a:gd name="T45" fmla="*/ 67 h 1060"/>
                <a:gd name="T46" fmla="*/ 481 w 1057"/>
                <a:gd name="T47" fmla="*/ 69 h 1060"/>
                <a:gd name="T48" fmla="*/ 391 w 1057"/>
                <a:gd name="T49" fmla="*/ 87 h 1060"/>
                <a:gd name="T50" fmla="*/ 308 w 1057"/>
                <a:gd name="T51" fmla="*/ 122 h 1060"/>
                <a:gd name="T52" fmla="*/ 234 w 1057"/>
                <a:gd name="T53" fmla="*/ 172 h 1060"/>
                <a:gd name="T54" fmla="*/ 171 w 1057"/>
                <a:gd name="T55" fmla="*/ 235 h 1060"/>
                <a:gd name="T56" fmla="*/ 122 w 1057"/>
                <a:gd name="T57" fmla="*/ 309 h 1060"/>
                <a:gd name="T58" fmla="*/ 87 w 1057"/>
                <a:gd name="T59" fmla="*/ 392 h 1060"/>
                <a:gd name="T60" fmla="*/ 68 w 1057"/>
                <a:gd name="T61" fmla="*/ 483 h 1060"/>
                <a:gd name="T62" fmla="*/ 66 w 1057"/>
                <a:gd name="T63" fmla="*/ 553 h 1060"/>
                <a:gd name="T64" fmla="*/ 80 w 1057"/>
                <a:gd name="T65" fmla="*/ 645 h 1060"/>
                <a:gd name="T66" fmla="*/ 111 w 1057"/>
                <a:gd name="T67" fmla="*/ 730 h 1060"/>
                <a:gd name="T68" fmla="*/ 158 w 1057"/>
                <a:gd name="T69" fmla="*/ 807 h 1060"/>
                <a:gd name="T70" fmla="*/ 218 w 1057"/>
                <a:gd name="T71" fmla="*/ 872 h 1060"/>
                <a:gd name="T72" fmla="*/ 288 w 1057"/>
                <a:gd name="T73" fmla="*/ 926 h 1060"/>
                <a:gd name="T74" fmla="*/ 370 w 1057"/>
                <a:gd name="T75" fmla="*/ 964 h 1060"/>
                <a:gd name="T76" fmla="*/ 458 w 1057"/>
                <a:gd name="T77" fmla="*/ 987 h 1060"/>
                <a:gd name="T78" fmla="*/ 528 w 1057"/>
                <a:gd name="T79" fmla="*/ 993 h 1060"/>
                <a:gd name="T80" fmla="*/ 622 w 1057"/>
                <a:gd name="T81" fmla="*/ 984 h 1060"/>
                <a:gd name="T82" fmla="*/ 708 w 1057"/>
                <a:gd name="T83" fmla="*/ 956 h 1060"/>
                <a:gd name="T84" fmla="*/ 787 w 1057"/>
                <a:gd name="T85" fmla="*/ 914 h 1060"/>
                <a:gd name="T86" fmla="*/ 855 w 1057"/>
                <a:gd name="T87" fmla="*/ 857 h 1060"/>
                <a:gd name="T88" fmla="*/ 912 w 1057"/>
                <a:gd name="T89" fmla="*/ 788 h 1060"/>
                <a:gd name="T90" fmla="*/ 955 w 1057"/>
                <a:gd name="T91" fmla="*/ 710 h 1060"/>
                <a:gd name="T92" fmla="*/ 982 w 1057"/>
                <a:gd name="T93" fmla="*/ 623 h 1060"/>
                <a:gd name="T94" fmla="*/ 991 w 1057"/>
                <a:gd name="T95" fmla="*/ 529 h 1060"/>
                <a:gd name="T96" fmla="*/ 1023 w 1057"/>
                <a:gd name="T97" fmla="*/ 495 h 1060"/>
                <a:gd name="T98" fmla="*/ 1057 w 1057"/>
                <a:gd name="T99" fmla="*/ 529 h 1060"/>
                <a:gd name="T100" fmla="*/ 1051 w 1057"/>
                <a:gd name="T101" fmla="*/ 610 h 1060"/>
                <a:gd name="T102" fmla="*/ 1025 w 1057"/>
                <a:gd name="T103" fmla="*/ 712 h 1060"/>
                <a:gd name="T104" fmla="*/ 981 w 1057"/>
                <a:gd name="T105" fmla="*/ 804 h 1060"/>
                <a:gd name="T106" fmla="*/ 920 w 1057"/>
                <a:gd name="T107" fmla="*/ 886 h 1060"/>
                <a:gd name="T108" fmla="*/ 845 w 1057"/>
                <a:gd name="T109" fmla="*/ 954 h 1060"/>
                <a:gd name="T110" fmla="*/ 758 w 1057"/>
                <a:gd name="T111" fmla="*/ 1007 h 1060"/>
                <a:gd name="T112" fmla="*/ 661 w 1057"/>
                <a:gd name="T113" fmla="*/ 1042 h 1060"/>
                <a:gd name="T114" fmla="*/ 555 w 1057"/>
                <a:gd name="T115" fmla="*/ 1059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7" h="1060">
                  <a:moveTo>
                    <a:pt x="528" y="1060"/>
                  </a:moveTo>
                  <a:lnTo>
                    <a:pt x="528" y="1060"/>
                  </a:lnTo>
                  <a:lnTo>
                    <a:pt x="501" y="1059"/>
                  </a:lnTo>
                  <a:lnTo>
                    <a:pt x="475" y="1057"/>
                  </a:lnTo>
                  <a:lnTo>
                    <a:pt x="448" y="1054"/>
                  </a:lnTo>
                  <a:lnTo>
                    <a:pt x="422" y="1048"/>
                  </a:lnTo>
                  <a:lnTo>
                    <a:pt x="397" y="1042"/>
                  </a:lnTo>
                  <a:lnTo>
                    <a:pt x="371" y="1036"/>
                  </a:lnTo>
                  <a:lnTo>
                    <a:pt x="347" y="1027"/>
                  </a:lnTo>
                  <a:lnTo>
                    <a:pt x="322" y="1017"/>
                  </a:lnTo>
                  <a:lnTo>
                    <a:pt x="300" y="1007"/>
                  </a:lnTo>
                  <a:lnTo>
                    <a:pt x="277" y="996"/>
                  </a:lnTo>
                  <a:lnTo>
                    <a:pt x="254" y="982"/>
                  </a:lnTo>
                  <a:lnTo>
                    <a:pt x="233" y="969"/>
                  </a:lnTo>
                  <a:lnTo>
                    <a:pt x="212" y="954"/>
                  </a:lnTo>
                  <a:lnTo>
                    <a:pt x="192" y="939"/>
                  </a:lnTo>
                  <a:lnTo>
                    <a:pt x="173" y="922"/>
                  </a:lnTo>
                  <a:lnTo>
                    <a:pt x="155" y="904"/>
                  </a:lnTo>
                  <a:lnTo>
                    <a:pt x="137" y="886"/>
                  </a:lnTo>
                  <a:lnTo>
                    <a:pt x="121" y="866"/>
                  </a:lnTo>
                  <a:lnTo>
                    <a:pt x="105" y="846"/>
                  </a:lnTo>
                  <a:lnTo>
                    <a:pt x="90" y="826"/>
                  </a:lnTo>
                  <a:lnTo>
                    <a:pt x="76" y="804"/>
                  </a:lnTo>
                  <a:lnTo>
                    <a:pt x="64" y="782"/>
                  </a:lnTo>
                  <a:lnTo>
                    <a:pt x="51" y="759"/>
                  </a:lnTo>
                  <a:lnTo>
                    <a:pt x="41" y="736"/>
                  </a:lnTo>
                  <a:lnTo>
                    <a:pt x="32" y="712"/>
                  </a:lnTo>
                  <a:lnTo>
                    <a:pt x="23" y="687"/>
                  </a:lnTo>
                  <a:lnTo>
                    <a:pt x="16" y="662"/>
                  </a:lnTo>
                  <a:lnTo>
                    <a:pt x="10" y="636"/>
                  </a:lnTo>
                  <a:lnTo>
                    <a:pt x="6" y="610"/>
                  </a:lnTo>
                  <a:lnTo>
                    <a:pt x="3" y="584"/>
                  </a:lnTo>
                  <a:lnTo>
                    <a:pt x="1" y="557"/>
                  </a:lnTo>
                  <a:lnTo>
                    <a:pt x="0" y="529"/>
                  </a:lnTo>
                  <a:lnTo>
                    <a:pt x="0" y="529"/>
                  </a:lnTo>
                  <a:lnTo>
                    <a:pt x="1" y="503"/>
                  </a:lnTo>
                  <a:lnTo>
                    <a:pt x="3" y="476"/>
                  </a:lnTo>
                  <a:lnTo>
                    <a:pt x="6" y="450"/>
                  </a:lnTo>
                  <a:lnTo>
                    <a:pt x="10" y="423"/>
                  </a:lnTo>
                  <a:lnTo>
                    <a:pt x="16" y="398"/>
                  </a:lnTo>
                  <a:lnTo>
                    <a:pt x="23" y="372"/>
                  </a:lnTo>
                  <a:lnTo>
                    <a:pt x="32" y="348"/>
                  </a:lnTo>
                  <a:lnTo>
                    <a:pt x="41" y="324"/>
                  </a:lnTo>
                  <a:lnTo>
                    <a:pt x="51" y="301"/>
                  </a:lnTo>
                  <a:lnTo>
                    <a:pt x="64" y="278"/>
                  </a:lnTo>
                  <a:lnTo>
                    <a:pt x="76" y="255"/>
                  </a:lnTo>
                  <a:lnTo>
                    <a:pt x="90" y="234"/>
                  </a:lnTo>
                  <a:lnTo>
                    <a:pt x="105" y="214"/>
                  </a:lnTo>
                  <a:lnTo>
                    <a:pt x="121" y="193"/>
                  </a:lnTo>
                  <a:lnTo>
                    <a:pt x="137" y="174"/>
                  </a:lnTo>
                  <a:lnTo>
                    <a:pt x="155" y="156"/>
                  </a:lnTo>
                  <a:lnTo>
                    <a:pt x="173" y="138"/>
                  </a:lnTo>
                  <a:lnTo>
                    <a:pt x="192" y="121"/>
                  </a:lnTo>
                  <a:lnTo>
                    <a:pt x="212" y="106"/>
                  </a:lnTo>
                  <a:lnTo>
                    <a:pt x="233" y="91"/>
                  </a:lnTo>
                  <a:lnTo>
                    <a:pt x="254" y="77"/>
                  </a:lnTo>
                  <a:lnTo>
                    <a:pt x="277" y="64"/>
                  </a:lnTo>
                  <a:lnTo>
                    <a:pt x="300" y="53"/>
                  </a:lnTo>
                  <a:lnTo>
                    <a:pt x="322" y="42"/>
                  </a:lnTo>
                  <a:lnTo>
                    <a:pt x="347" y="32"/>
                  </a:lnTo>
                  <a:lnTo>
                    <a:pt x="371" y="24"/>
                  </a:lnTo>
                  <a:lnTo>
                    <a:pt x="397" y="17"/>
                  </a:lnTo>
                  <a:lnTo>
                    <a:pt x="422" y="11"/>
                  </a:lnTo>
                  <a:lnTo>
                    <a:pt x="448" y="6"/>
                  </a:lnTo>
                  <a:lnTo>
                    <a:pt x="475" y="3"/>
                  </a:lnTo>
                  <a:lnTo>
                    <a:pt x="501" y="1"/>
                  </a:lnTo>
                  <a:lnTo>
                    <a:pt x="528" y="0"/>
                  </a:lnTo>
                  <a:lnTo>
                    <a:pt x="528" y="0"/>
                  </a:lnTo>
                  <a:lnTo>
                    <a:pt x="544" y="1"/>
                  </a:lnTo>
                  <a:lnTo>
                    <a:pt x="560" y="1"/>
                  </a:lnTo>
                  <a:lnTo>
                    <a:pt x="560" y="1"/>
                  </a:lnTo>
                  <a:lnTo>
                    <a:pt x="567" y="3"/>
                  </a:lnTo>
                  <a:lnTo>
                    <a:pt x="573" y="5"/>
                  </a:lnTo>
                  <a:lnTo>
                    <a:pt x="579" y="9"/>
                  </a:lnTo>
                  <a:lnTo>
                    <a:pt x="584" y="13"/>
                  </a:lnTo>
                  <a:lnTo>
                    <a:pt x="588" y="18"/>
                  </a:lnTo>
                  <a:lnTo>
                    <a:pt x="592" y="24"/>
                  </a:lnTo>
                  <a:lnTo>
                    <a:pt x="594" y="30"/>
                  </a:lnTo>
                  <a:lnTo>
                    <a:pt x="594" y="38"/>
                  </a:lnTo>
                  <a:lnTo>
                    <a:pt x="594" y="38"/>
                  </a:lnTo>
                  <a:lnTo>
                    <a:pt x="593" y="44"/>
                  </a:lnTo>
                  <a:lnTo>
                    <a:pt x="590" y="50"/>
                  </a:lnTo>
                  <a:lnTo>
                    <a:pt x="587" y="55"/>
                  </a:lnTo>
                  <a:lnTo>
                    <a:pt x="583" y="60"/>
                  </a:lnTo>
                  <a:lnTo>
                    <a:pt x="579" y="63"/>
                  </a:lnTo>
                  <a:lnTo>
                    <a:pt x="574" y="67"/>
                  </a:lnTo>
                  <a:lnTo>
                    <a:pt x="568" y="68"/>
                  </a:lnTo>
                  <a:lnTo>
                    <a:pt x="562" y="69"/>
                  </a:lnTo>
                  <a:lnTo>
                    <a:pt x="562" y="69"/>
                  </a:lnTo>
                  <a:lnTo>
                    <a:pt x="555" y="68"/>
                  </a:lnTo>
                  <a:lnTo>
                    <a:pt x="555" y="68"/>
                  </a:lnTo>
                  <a:lnTo>
                    <a:pt x="542" y="67"/>
                  </a:lnTo>
                  <a:lnTo>
                    <a:pt x="528" y="67"/>
                  </a:lnTo>
                  <a:lnTo>
                    <a:pt x="528" y="67"/>
                  </a:lnTo>
                  <a:lnTo>
                    <a:pt x="505" y="68"/>
                  </a:lnTo>
                  <a:lnTo>
                    <a:pt x="481" y="69"/>
                  </a:lnTo>
                  <a:lnTo>
                    <a:pt x="458" y="72"/>
                  </a:lnTo>
                  <a:lnTo>
                    <a:pt x="435" y="76"/>
                  </a:lnTo>
                  <a:lnTo>
                    <a:pt x="414" y="81"/>
                  </a:lnTo>
                  <a:lnTo>
                    <a:pt x="391" y="87"/>
                  </a:lnTo>
                  <a:lnTo>
                    <a:pt x="370" y="94"/>
                  </a:lnTo>
                  <a:lnTo>
                    <a:pt x="348" y="103"/>
                  </a:lnTo>
                  <a:lnTo>
                    <a:pt x="328" y="112"/>
                  </a:lnTo>
                  <a:lnTo>
                    <a:pt x="308" y="122"/>
                  </a:lnTo>
                  <a:lnTo>
                    <a:pt x="288" y="134"/>
                  </a:lnTo>
                  <a:lnTo>
                    <a:pt x="270" y="145"/>
                  </a:lnTo>
                  <a:lnTo>
                    <a:pt x="252" y="159"/>
                  </a:lnTo>
                  <a:lnTo>
                    <a:pt x="234" y="172"/>
                  </a:lnTo>
                  <a:lnTo>
                    <a:pt x="218" y="187"/>
                  </a:lnTo>
                  <a:lnTo>
                    <a:pt x="201" y="202"/>
                  </a:lnTo>
                  <a:lnTo>
                    <a:pt x="186" y="219"/>
                  </a:lnTo>
                  <a:lnTo>
                    <a:pt x="171" y="235"/>
                  </a:lnTo>
                  <a:lnTo>
                    <a:pt x="158" y="253"/>
                  </a:lnTo>
                  <a:lnTo>
                    <a:pt x="144" y="271"/>
                  </a:lnTo>
                  <a:lnTo>
                    <a:pt x="133" y="290"/>
                  </a:lnTo>
                  <a:lnTo>
                    <a:pt x="122" y="309"/>
                  </a:lnTo>
                  <a:lnTo>
                    <a:pt x="111" y="330"/>
                  </a:lnTo>
                  <a:lnTo>
                    <a:pt x="102" y="349"/>
                  </a:lnTo>
                  <a:lnTo>
                    <a:pt x="94" y="371"/>
                  </a:lnTo>
                  <a:lnTo>
                    <a:pt x="87" y="392"/>
                  </a:lnTo>
                  <a:lnTo>
                    <a:pt x="80" y="414"/>
                  </a:lnTo>
                  <a:lnTo>
                    <a:pt x="75" y="436"/>
                  </a:lnTo>
                  <a:lnTo>
                    <a:pt x="71" y="459"/>
                  </a:lnTo>
                  <a:lnTo>
                    <a:pt x="68" y="483"/>
                  </a:lnTo>
                  <a:lnTo>
                    <a:pt x="66" y="506"/>
                  </a:lnTo>
                  <a:lnTo>
                    <a:pt x="66" y="529"/>
                  </a:lnTo>
                  <a:lnTo>
                    <a:pt x="66" y="529"/>
                  </a:lnTo>
                  <a:lnTo>
                    <a:pt x="66" y="553"/>
                  </a:lnTo>
                  <a:lnTo>
                    <a:pt x="68" y="577"/>
                  </a:lnTo>
                  <a:lnTo>
                    <a:pt x="71" y="600"/>
                  </a:lnTo>
                  <a:lnTo>
                    <a:pt x="75" y="623"/>
                  </a:lnTo>
                  <a:lnTo>
                    <a:pt x="80" y="645"/>
                  </a:lnTo>
                  <a:lnTo>
                    <a:pt x="87" y="667"/>
                  </a:lnTo>
                  <a:lnTo>
                    <a:pt x="94" y="689"/>
                  </a:lnTo>
                  <a:lnTo>
                    <a:pt x="102" y="710"/>
                  </a:lnTo>
                  <a:lnTo>
                    <a:pt x="111" y="730"/>
                  </a:lnTo>
                  <a:lnTo>
                    <a:pt x="122" y="750"/>
                  </a:lnTo>
                  <a:lnTo>
                    <a:pt x="133" y="770"/>
                  </a:lnTo>
                  <a:lnTo>
                    <a:pt x="144" y="788"/>
                  </a:lnTo>
                  <a:lnTo>
                    <a:pt x="158" y="807"/>
                  </a:lnTo>
                  <a:lnTo>
                    <a:pt x="171" y="825"/>
                  </a:lnTo>
                  <a:lnTo>
                    <a:pt x="186" y="841"/>
                  </a:lnTo>
                  <a:lnTo>
                    <a:pt x="201" y="857"/>
                  </a:lnTo>
                  <a:lnTo>
                    <a:pt x="218" y="872"/>
                  </a:lnTo>
                  <a:lnTo>
                    <a:pt x="234" y="887"/>
                  </a:lnTo>
                  <a:lnTo>
                    <a:pt x="252" y="901"/>
                  </a:lnTo>
                  <a:lnTo>
                    <a:pt x="270" y="914"/>
                  </a:lnTo>
                  <a:lnTo>
                    <a:pt x="288" y="926"/>
                  </a:lnTo>
                  <a:lnTo>
                    <a:pt x="308" y="938"/>
                  </a:lnTo>
                  <a:lnTo>
                    <a:pt x="328" y="947"/>
                  </a:lnTo>
                  <a:lnTo>
                    <a:pt x="348" y="956"/>
                  </a:lnTo>
                  <a:lnTo>
                    <a:pt x="370" y="964"/>
                  </a:lnTo>
                  <a:lnTo>
                    <a:pt x="391" y="972"/>
                  </a:lnTo>
                  <a:lnTo>
                    <a:pt x="414" y="979"/>
                  </a:lnTo>
                  <a:lnTo>
                    <a:pt x="435" y="984"/>
                  </a:lnTo>
                  <a:lnTo>
                    <a:pt x="458" y="987"/>
                  </a:lnTo>
                  <a:lnTo>
                    <a:pt x="481" y="990"/>
                  </a:lnTo>
                  <a:lnTo>
                    <a:pt x="505" y="992"/>
                  </a:lnTo>
                  <a:lnTo>
                    <a:pt x="528" y="993"/>
                  </a:lnTo>
                  <a:lnTo>
                    <a:pt x="528" y="993"/>
                  </a:lnTo>
                  <a:lnTo>
                    <a:pt x="552" y="992"/>
                  </a:lnTo>
                  <a:lnTo>
                    <a:pt x="576" y="990"/>
                  </a:lnTo>
                  <a:lnTo>
                    <a:pt x="599" y="987"/>
                  </a:lnTo>
                  <a:lnTo>
                    <a:pt x="622" y="984"/>
                  </a:lnTo>
                  <a:lnTo>
                    <a:pt x="644" y="979"/>
                  </a:lnTo>
                  <a:lnTo>
                    <a:pt x="666" y="972"/>
                  </a:lnTo>
                  <a:lnTo>
                    <a:pt x="688" y="964"/>
                  </a:lnTo>
                  <a:lnTo>
                    <a:pt x="708" y="956"/>
                  </a:lnTo>
                  <a:lnTo>
                    <a:pt x="729" y="947"/>
                  </a:lnTo>
                  <a:lnTo>
                    <a:pt x="749" y="938"/>
                  </a:lnTo>
                  <a:lnTo>
                    <a:pt x="768" y="926"/>
                  </a:lnTo>
                  <a:lnTo>
                    <a:pt x="787" y="914"/>
                  </a:lnTo>
                  <a:lnTo>
                    <a:pt x="806" y="901"/>
                  </a:lnTo>
                  <a:lnTo>
                    <a:pt x="823" y="887"/>
                  </a:lnTo>
                  <a:lnTo>
                    <a:pt x="840" y="872"/>
                  </a:lnTo>
                  <a:lnTo>
                    <a:pt x="855" y="857"/>
                  </a:lnTo>
                  <a:lnTo>
                    <a:pt x="871" y="841"/>
                  </a:lnTo>
                  <a:lnTo>
                    <a:pt x="885" y="825"/>
                  </a:lnTo>
                  <a:lnTo>
                    <a:pt x="899" y="807"/>
                  </a:lnTo>
                  <a:lnTo>
                    <a:pt x="912" y="788"/>
                  </a:lnTo>
                  <a:lnTo>
                    <a:pt x="925" y="770"/>
                  </a:lnTo>
                  <a:lnTo>
                    <a:pt x="935" y="750"/>
                  </a:lnTo>
                  <a:lnTo>
                    <a:pt x="945" y="730"/>
                  </a:lnTo>
                  <a:lnTo>
                    <a:pt x="955" y="710"/>
                  </a:lnTo>
                  <a:lnTo>
                    <a:pt x="963" y="689"/>
                  </a:lnTo>
                  <a:lnTo>
                    <a:pt x="970" y="667"/>
                  </a:lnTo>
                  <a:lnTo>
                    <a:pt x="976" y="645"/>
                  </a:lnTo>
                  <a:lnTo>
                    <a:pt x="982" y="623"/>
                  </a:lnTo>
                  <a:lnTo>
                    <a:pt x="986" y="600"/>
                  </a:lnTo>
                  <a:lnTo>
                    <a:pt x="989" y="577"/>
                  </a:lnTo>
                  <a:lnTo>
                    <a:pt x="991" y="553"/>
                  </a:lnTo>
                  <a:lnTo>
                    <a:pt x="991" y="529"/>
                  </a:lnTo>
                  <a:lnTo>
                    <a:pt x="991" y="529"/>
                  </a:lnTo>
                  <a:lnTo>
                    <a:pt x="991" y="516"/>
                  </a:lnTo>
                  <a:lnTo>
                    <a:pt x="990" y="503"/>
                  </a:lnTo>
                  <a:lnTo>
                    <a:pt x="1023" y="495"/>
                  </a:lnTo>
                  <a:lnTo>
                    <a:pt x="1056" y="493"/>
                  </a:lnTo>
                  <a:lnTo>
                    <a:pt x="1056" y="493"/>
                  </a:lnTo>
                  <a:lnTo>
                    <a:pt x="1057" y="513"/>
                  </a:lnTo>
                  <a:lnTo>
                    <a:pt x="1057" y="529"/>
                  </a:lnTo>
                  <a:lnTo>
                    <a:pt x="1057" y="529"/>
                  </a:lnTo>
                  <a:lnTo>
                    <a:pt x="1057" y="557"/>
                  </a:lnTo>
                  <a:lnTo>
                    <a:pt x="1055" y="584"/>
                  </a:lnTo>
                  <a:lnTo>
                    <a:pt x="1051" y="610"/>
                  </a:lnTo>
                  <a:lnTo>
                    <a:pt x="1047" y="636"/>
                  </a:lnTo>
                  <a:lnTo>
                    <a:pt x="1041" y="662"/>
                  </a:lnTo>
                  <a:lnTo>
                    <a:pt x="1033" y="687"/>
                  </a:lnTo>
                  <a:lnTo>
                    <a:pt x="1025" y="712"/>
                  </a:lnTo>
                  <a:lnTo>
                    <a:pt x="1016" y="736"/>
                  </a:lnTo>
                  <a:lnTo>
                    <a:pt x="1005" y="759"/>
                  </a:lnTo>
                  <a:lnTo>
                    <a:pt x="994" y="782"/>
                  </a:lnTo>
                  <a:lnTo>
                    <a:pt x="981" y="804"/>
                  </a:lnTo>
                  <a:lnTo>
                    <a:pt x="967" y="826"/>
                  </a:lnTo>
                  <a:lnTo>
                    <a:pt x="953" y="846"/>
                  </a:lnTo>
                  <a:lnTo>
                    <a:pt x="936" y="866"/>
                  </a:lnTo>
                  <a:lnTo>
                    <a:pt x="920" y="886"/>
                  </a:lnTo>
                  <a:lnTo>
                    <a:pt x="902" y="904"/>
                  </a:lnTo>
                  <a:lnTo>
                    <a:pt x="884" y="922"/>
                  </a:lnTo>
                  <a:lnTo>
                    <a:pt x="865" y="939"/>
                  </a:lnTo>
                  <a:lnTo>
                    <a:pt x="845" y="954"/>
                  </a:lnTo>
                  <a:lnTo>
                    <a:pt x="824" y="969"/>
                  </a:lnTo>
                  <a:lnTo>
                    <a:pt x="803" y="982"/>
                  </a:lnTo>
                  <a:lnTo>
                    <a:pt x="781" y="996"/>
                  </a:lnTo>
                  <a:lnTo>
                    <a:pt x="758" y="1007"/>
                  </a:lnTo>
                  <a:lnTo>
                    <a:pt x="734" y="1017"/>
                  </a:lnTo>
                  <a:lnTo>
                    <a:pt x="711" y="1027"/>
                  </a:lnTo>
                  <a:lnTo>
                    <a:pt x="686" y="1036"/>
                  </a:lnTo>
                  <a:lnTo>
                    <a:pt x="661" y="1042"/>
                  </a:lnTo>
                  <a:lnTo>
                    <a:pt x="635" y="1048"/>
                  </a:lnTo>
                  <a:lnTo>
                    <a:pt x="609" y="1054"/>
                  </a:lnTo>
                  <a:lnTo>
                    <a:pt x="582" y="1057"/>
                  </a:lnTo>
                  <a:lnTo>
                    <a:pt x="555" y="1059"/>
                  </a:lnTo>
                  <a:lnTo>
                    <a:pt x="528" y="1060"/>
                  </a:lnTo>
                  <a:lnTo>
                    <a:pt x="528" y="10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34" name="Group 33">
            <a:extLst>
              <a:ext uri="{FF2B5EF4-FFF2-40B4-BE49-F238E27FC236}">
                <a16:creationId xmlns:a16="http://schemas.microsoft.com/office/drawing/2014/main" id="{1538BB7D-A342-499F-86F3-3E1E1FE0CA25}"/>
              </a:ext>
            </a:extLst>
          </p:cNvPr>
          <p:cNvGrpSpPr/>
          <p:nvPr/>
        </p:nvGrpSpPr>
        <p:grpSpPr>
          <a:xfrm>
            <a:off x="3761165" y="4557201"/>
            <a:ext cx="346076" cy="360363"/>
            <a:chOff x="3397250" y="3278188"/>
            <a:chExt cx="346076" cy="360363"/>
          </a:xfrm>
          <a:solidFill>
            <a:schemeClr val="bg1"/>
          </a:solidFill>
        </p:grpSpPr>
        <p:sp>
          <p:nvSpPr>
            <p:cNvPr id="35" name="Freeform 141">
              <a:extLst>
                <a:ext uri="{FF2B5EF4-FFF2-40B4-BE49-F238E27FC236}">
                  <a16:creationId xmlns:a16="http://schemas.microsoft.com/office/drawing/2014/main" id="{846D0939-2CA7-404E-A2BA-3437351DCCD1}"/>
                </a:ext>
              </a:extLst>
            </p:cNvPr>
            <p:cNvSpPr>
              <a:spLocks noEditPoints="1"/>
            </p:cNvSpPr>
            <p:nvPr/>
          </p:nvSpPr>
          <p:spPr bwMode="auto">
            <a:xfrm>
              <a:off x="3427413" y="3429001"/>
              <a:ext cx="120650" cy="150813"/>
            </a:xfrm>
            <a:custGeom>
              <a:avLst/>
              <a:gdLst>
                <a:gd name="T0" fmla="*/ 165 w 529"/>
                <a:gd name="T1" fmla="*/ 662 h 662"/>
                <a:gd name="T2" fmla="*/ 147 w 529"/>
                <a:gd name="T3" fmla="*/ 655 h 662"/>
                <a:gd name="T4" fmla="*/ 135 w 529"/>
                <a:gd name="T5" fmla="*/ 641 h 662"/>
                <a:gd name="T6" fmla="*/ 132 w 529"/>
                <a:gd name="T7" fmla="*/ 393 h 662"/>
                <a:gd name="T8" fmla="*/ 105 w 529"/>
                <a:gd name="T9" fmla="*/ 385 h 662"/>
                <a:gd name="T10" fmla="*/ 68 w 529"/>
                <a:gd name="T11" fmla="*/ 365 h 662"/>
                <a:gd name="T12" fmla="*/ 38 w 529"/>
                <a:gd name="T13" fmla="*/ 336 h 662"/>
                <a:gd name="T14" fmla="*/ 15 w 529"/>
                <a:gd name="T15" fmla="*/ 301 h 662"/>
                <a:gd name="T16" fmla="*/ 3 w 529"/>
                <a:gd name="T17" fmla="*/ 260 h 662"/>
                <a:gd name="T18" fmla="*/ 0 w 529"/>
                <a:gd name="T19" fmla="*/ 33 h 662"/>
                <a:gd name="T20" fmla="*/ 3 w 529"/>
                <a:gd name="T21" fmla="*/ 19 h 662"/>
                <a:gd name="T22" fmla="*/ 14 w 529"/>
                <a:gd name="T23" fmla="*/ 5 h 662"/>
                <a:gd name="T24" fmla="*/ 33 w 529"/>
                <a:gd name="T25" fmla="*/ 0 h 662"/>
                <a:gd name="T26" fmla="*/ 504 w 529"/>
                <a:gd name="T27" fmla="*/ 0 h 662"/>
                <a:gd name="T28" fmla="*/ 520 w 529"/>
                <a:gd name="T29" fmla="*/ 9 h 662"/>
                <a:gd name="T30" fmla="*/ 529 w 529"/>
                <a:gd name="T31" fmla="*/ 25 h 662"/>
                <a:gd name="T32" fmla="*/ 529 w 529"/>
                <a:gd name="T33" fmla="*/ 231 h 662"/>
                <a:gd name="T34" fmla="*/ 524 w 529"/>
                <a:gd name="T35" fmla="*/ 275 h 662"/>
                <a:gd name="T36" fmla="*/ 508 w 529"/>
                <a:gd name="T37" fmla="*/ 313 h 662"/>
                <a:gd name="T38" fmla="*/ 483 w 529"/>
                <a:gd name="T39" fmla="*/ 346 h 662"/>
                <a:gd name="T40" fmla="*/ 450 w 529"/>
                <a:gd name="T41" fmla="*/ 373 h 662"/>
                <a:gd name="T42" fmla="*/ 411 w 529"/>
                <a:gd name="T43" fmla="*/ 390 h 662"/>
                <a:gd name="T44" fmla="*/ 397 w 529"/>
                <a:gd name="T45" fmla="*/ 629 h 662"/>
                <a:gd name="T46" fmla="*/ 392 w 529"/>
                <a:gd name="T47" fmla="*/ 647 h 662"/>
                <a:gd name="T48" fmla="*/ 377 w 529"/>
                <a:gd name="T49" fmla="*/ 659 h 662"/>
                <a:gd name="T50" fmla="*/ 364 w 529"/>
                <a:gd name="T51" fmla="*/ 662 h 662"/>
                <a:gd name="T52" fmla="*/ 331 w 529"/>
                <a:gd name="T53" fmla="*/ 364 h 662"/>
                <a:gd name="T54" fmla="*/ 334 w 529"/>
                <a:gd name="T55" fmla="*/ 350 h 662"/>
                <a:gd name="T56" fmla="*/ 345 w 529"/>
                <a:gd name="T57" fmla="*/ 336 h 662"/>
                <a:gd name="T58" fmla="*/ 364 w 529"/>
                <a:gd name="T59" fmla="*/ 331 h 662"/>
                <a:gd name="T60" fmla="*/ 385 w 529"/>
                <a:gd name="T61" fmla="*/ 329 h 662"/>
                <a:gd name="T62" fmla="*/ 411 w 529"/>
                <a:gd name="T63" fmla="*/ 318 h 662"/>
                <a:gd name="T64" fmla="*/ 434 w 529"/>
                <a:gd name="T65" fmla="*/ 301 h 662"/>
                <a:gd name="T66" fmla="*/ 452 w 529"/>
                <a:gd name="T67" fmla="*/ 278 h 662"/>
                <a:gd name="T68" fmla="*/ 461 w 529"/>
                <a:gd name="T69" fmla="*/ 251 h 662"/>
                <a:gd name="T70" fmla="*/ 463 w 529"/>
                <a:gd name="T71" fmla="*/ 66 h 662"/>
                <a:gd name="T72" fmla="*/ 66 w 529"/>
                <a:gd name="T73" fmla="*/ 231 h 662"/>
                <a:gd name="T74" fmla="*/ 71 w 529"/>
                <a:gd name="T75" fmla="*/ 260 h 662"/>
                <a:gd name="T76" fmla="*/ 83 w 529"/>
                <a:gd name="T77" fmla="*/ 286 h 662"/>
                <a:gd name="T78" fmla="*/ 102 w 529"/>
                <a:gd name="T79" fmla="*/ 308 h 662"/>
                <a:gd name="T80" fmla="*/ 127 w 529"/>
                <a:gd name="T81" fmla="*/ 322 h 662"/>
                <a:gd name="T82" fmla="*/ 155 w 529"/>
                <a:gd name="T83" fmla="*/ 330 h 662"/>
                <a:gd name="T84" fmla="*/ 172 w 529"/>
                <a:gd name="T85" fmla="*/ 331 h 662"/>
                <a:gd name="T86" fmla="*/ 189 w 529"/>
                <a:gd name="T87" fmla="*/ 340 h 662"/>
                <a:gd name="T88" fmla="*/ 198 w 529"/>
                <a:gd name="T89" fmla="*/ 35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662">
                  <a:moveTo>
                    <a:pt x="364" y="662"/>
                  </a:moveTo>
                  <a:lnTo>
                    <a:pt x="165" y="662"/>
                  </a:lnTo>
                  <a:lnTo>
                    <a:pt x="165" y="662"/>
                  </a:lnTo>
                  <a:lnTo>
                    <a:pt x="159" y="661"/>
                  </a:lnTo>
                  <a:lnTo>
                    <a:pt x="153" y="659"/>
                  </a:lnTo>
                  <a:lnTo>
                    <a:pt x="147" y="655"/>
                  </a:lnTo>
                  <a:lnTo>
                    <a:pt x="142" y="651"/>
                  </a:lnTo>
                  <a:lnTo>
                    <a:pt x="138" y="647"/>
                  </a:lnTo>
                  <a:lnTo>
                    <a:pt x="135" y="641"/>
                  </a:lnTo>
                  <a:lnTo>
                    <a:pt x="133" y="635"/>
                  </a:lnTo>
                  <a:lnTo>
                    <a:pt x="132" y="629"/>
                  </a:lnTo>
                  <a:lnTo>
                    <a:pt x="132" y="393"/>
                  </a:lnTo>
                  <a:lnTo>
                    <a:pt x="132" y="393"/>
                  </a:lnTo>
                  <a:lnTo>
                    <a:pt x="119" y="390"/>
                  </a:lnTo>
                  <a:lnTo>
                    <a:pt x="105" y="385"/>
                  </a:lnTo>
                  <a:lnTo>
                    <a:pt x="92" y="379"/>
                  </a:lnTo>
                  <a:lnTo>
                    <a:pt x="79" y="373"/>
                  </a:lnTo>
                  <a:lnTo>
                    <a:pt x="68" y="365"/>
                  </a:lnTo>
                  <a:lnTo>
                    <a:pt x="58" y="356"/>
                  </a:lnTo>
                  <a:lnTo>
                    <a:pt x="47" y="346"/>
                  </a:lnTo>
                  <a:lnTo>
                    <a:pt x="38" y="336"/>
                  </a:lnTo>
                  <a:lnTo>
                    <a:pt x="30" y="325"/>
                  </a:lnTo>
                  <a:lnTo>
                    <a:pt x="21" y="313"/>
                  </a:lnTo>
                  <a:lnTo>
                    <a:pt x="15" y="301"/>
                  </a:lnTo>
                  <a:lnTo>
                    <a:pt x="10" y="288"/>
                  </a:lnTo>
                  <a:lnTo>
                    <a:pt x="6" y="275"/>
                  </a:lnTo>
                  <a:lnTo>
                    <a:pt x="3" y="260"/>
                  </a:lnTo>
                  <a:lnTo>
                    <a:pt x="1" y="246"/>
                  </a:lnTo>
                  <a:lnTo>
                    <a:pt x="0" y="231"/>
                  </a:lnTo>
                  <a:lnTo>
                    <a:pt x="0" y="33"/>
                  </a:lnTo>
                  <a:lnTo>
                    <a:pt x="0" y="33"/>
                  </a:lnTo>
                  <a:lnTo>
                    <a:pt x="1" y="25"/>
                  </a:lnTo>
                  <a:lnTo>
                    <a:pt x="3" y="19"/>
                  </a:lnTo>
                  <a:lnTo>
                    <a:pt x="6" y="14"/>
                  </a:lnTo>
                  <a:lnTo>
                    <a:pt x="10" y="9"/>
                  </a:lnTo>
                  <a:lnTo>
                    <a:pt x="14" y="5"/>
                  </a:lnTo>
                  <a:lnTo>
                    <a:pt x="20" y="2"/>
                  </a:lnTo>
                  <a:lnTo>
                    <a:pt x="27" y="0"/>
                  </a:lnTo>
                  <a:lnTo>
                    <a:pt x="33" y="0"/>
                  </a:lnTo>
                  <a:lnTo>
                    <a:pt x="496" y="0"/>
                  </a:lnTo>
                  <a:lnTo>
                    <a:pt x="496" y="0"/>
                  </a:lnTo>
                  <a:lnTo>
                    <a:pt x="504" y="0"/>
                  </a:lnTo>
                  <a:lnTo>
                    <a:pt x="510" y="2"/>
                  </a:lnTo>
                  <a:lnTo>
                    <a:pt x="515" y="5"/>
                  </a:lnTo>
                  <a:lnTo>
                    <a:pt x="520" y="9"/>
                  </a:lnTo>
                  <a:lnTo>
                    <a:pt x="524" y="14"/>
                  </a:lnTo>
                  <a:lnTo>
                    <a:pt x="527" y="19"/>
                  </a:lnTo>
                  <a:lnTo>
                    <a:pt x="529" y="25"/>
                  </a:lnTo>
                  <a:lnTo>
                    <a:pt x="529" y="33"/>
                  </a:lnTo>
                  <a:lnTo>
                    <a:pt x="529" y="231"/>
                  </a:lnTo>
                  <a:lnTo>
                    <a:pt x="529" y="231"/>
                  </a:lnTo>
                  <a:lnTo>
                    <a:pt x="529" y="246"/>
                  </a:lnTo>
                  <a:lnTo>
                    <a:pt x="527" y="260"/>
                  </a:lnTo>
                  <a:lnTo>
                    <a:pt x="524" y="275"/>
                  </a:lnTo>
                  <a:lnTo>
                    <a:pt x="520" y="288"/>
                  </a:lnTo>
                  <a:lnTo>
                    <a:pt x="514" y="301"/>
                  </a:lnTo>
                  <a:lnTo>
                    <a:pt x="508" y="313"/>
                  </a:lnTo>
                  <a:lnTo>
                    <a:pt x="500" y="325"/>
                  </a:lnTo>
                  <a:lnTo>
                    <a:pt x="492" y="336"/>
                  </a:lnTo>
                  <a:lnTo>
                    <a:pt x="483" y="346"/>
                  </a:lnTo>
                  <a:lnTo>
                    <a:pt x="473" y="356"/>
                  </a:lnTo>
                  <a:lnTo>
                    <a:pt x="461" y="365"/>
                  </a:lnTo>
                  <a:lnTo>
                    <a:pt x="450" y="373"/>
                  </a:lnTo>
                  <a:lnTo>
                    <a:pt x="437" y="379"/>
                  </a:lnTo>
                  <a:lnTo>
                    <a:pt x="425" y="385"/>
                  </a:lnTo>
                  <a:lnTo>
                    <a:pt x="411" y="390"/>
                  </a:lnTo>
                  <a:lnTo>
                    <a:pt x="397" y="393"/>
                  </a:lnTo>
                  <a:lnTo>
                    <a:pt x="397" y="629"/>
                  </a:lnTo>
                  <a:lnTo>
                    <a:pt x="397" y="629"/>
                  </a:lnTo>
                  <a:lnTo>
                    <a:pt x="397" y="635"/>
                  </a:lnTo>
                  <a:lnTo>
                    <a:pt x="395" y="641"/>
                  </a:lnTo>
                  <a:lnTo>
                    <a:pt x="392" y="647"/>
                  </a:lnTo>
                  <a:lnTo>
                    <a:pt x="388" y="651"/>
                  </a:lnTo>
                  <a:lnTo>
                    <a:pt x="383" y="655"/>
                  </a:lnTo>
                  <a:lnTo>
                    <a:pt x="377" y="659"/>
                  </a:lnTo>
                  <a:lnTo>
                    <a:pt x="371" y="661"/>
                  </a:lnTo>
                  <a:lnTo>
                    <a:pt x="364" y="662"/>
                  </a:lnTo>
                  <a:lnTo>
                    <a:pt x="364" y="662"/>
                  </a:lnTo>
                  <a:close/>
                  <a:moveTo>
                    <a:pt x="198" y="595"/>
                  </a:moveTo>
                  <a:lnTo>
                    <a:pt x="331" y="595"/>
                  </a:lnTo>
                  <a:lnTo>
                    <a:pt x="331" y="364"/>
                  </a:lnTo>
                  <a:lnTo>
                    <a:pt x="331" y="364"/>
                  </a:lnTo>
                  <a:lnTo>
                    <a:pt x="332" y="356"/>
                  </a:lnTo>
                  <a:lnTo>
                    <a:pt x="334" y="350"/>
                  </a:lnTo>
                  <a:lnTo>
                    <a:pt x="337" y="345"/>
                  </a:lnTo>
                  <a:lnTo>
                    <a:pt x="341" y="340"/>
                  </a:lnTo>
                  <a:lnTo>
                    <a:pt x="345" y="336"/>
                  </a:lnTo>
                  <a:lnTo>
                    <a:pt x="351" y="333"/>
                  </a:lnTo>
                  <a:lnTo>
                    <a:pt x="358" y="331"/>
                  </a:lnTo>
                  <a:lnTo>
                    <a:pt x="364" y="331"/>
                  </a:lnTo>
                  <a:lnTo>
                    <a:pt x="364" y="331"/>
                  </a:lnTo>
                  <a:lnTo>
                    <a:pt x="374" y="330"/>
                  </a:lnTo>
                  <a:lnTo>
                    <a:pt x="385" y="329"/>
                  </a:lnTo>
                  <a:lnTo>
                    <a:pt x="394" y="325"/>
                  </a:lnTo>
                  <a:lnTo>
                    <a:pt x="403" y="322"/>
                  </a:lnTo>
                  <a:lnTo>
                    <a:pt x="411" y="318"/>
                  </a:lnTo>
                  <a:lnTo>
                    <a:pt x="420" y="313"/>
                  </a:lnTo>
                  <a:lnTo>
                    <a:pt x="427" y="308"/>
                  </a:lnTo>
                  <a:lnTo>
                    <a:pt x="434" y="301"/>
                  </a:lnTo>
                  <a:lnTo>
                    <a:pt x="440" y="294"/>
                  </a:lnTo>
                  <a:lnTo>
                    <a:pt x="447" y="286"/>
                  </a:lnTo>
                  <a:lnTo>
                    <a:pt x="452" y="278"/>
                  </a:lnTo>
                  <a:lnTo>
                    <a:pt x="456" y="270"/>
                  </a:lnTo>
                  <a:lnTo>
                    <a:pt x="459" y="260"/>
                  </a:lnTo>
                  <a:lnTo>
                    <a:pt x="461" y="251"/>
                  </a:lnTo>
                  <a:lnTo>
                    <a:pt x="463" y="241"/>
                  </a:lnTo>
                  <a:lnTo>
                    <a:pt x="463" y="231"/>
                  </a:lnTo>
                  <a:lnTo>
                    <a:pt x="463" y="66"/>
                  </a:lnTo>
                  <a:lnTo>
                    <a:pt x="66" y="66"/>
                  </a:lnTo>
                  <a:lnTo>
                    <a:pt x="66" y="231"/>
                  </a:lnTo>
                  <a:lnTo>
                    <a:pt x="66" y="231"/>
                  </a:lnTo>
                  <a:lnTo>
                    <a:pt x="67" y="241"/>
                  </a:lnTo>
                  <a:lnTo>
                    <a:pt x="68" y="251"/>
                  </a:lnTo>
                  <a:lnTo>
                    <a:pt x="71" y="260"/>
                  </a:lnTo>
                  <a:lnTo>
                    <a:pt x="74" y="270"/>
                  </a:lnTo>
                  <a:lnTo>
                    <a:pt x="78" y="278"/>
                  </a:lnTo>
                  <a:lnTo>
                    <a:pt x="83" y="286"/>
                  </a:lnTo>
                  <a:lnTo>
                    <a:pt x="89" y="294"/>
                  </a:lnTo>
                  <a:lnTo>
                    <a:pt x="95" y="301"/>
                  </a:lnTo>
                  <a:lnTo>
                    <a:pt x="102" y="308"/>
                  </a:lnTo>
                  <a:lnTo>
                    <a:pt x="110" y="313"/>
                  </a:lnTo>
                  <a:lnTo>
                    <a:pt x="118" y="318"/>
                  </a:lnTo>
                  <a:lnTo>
                    <a:pt x="127" y="322"/>
                  </a:lnTo>
                  <a:lnTo>
                    <a:pt x="136" y="325"/>
                  </a:lnTo>
                  <a:lnTo>
                    <a:pt x="146" y="329"/>
                  </a:lnTo>
                  <a:lnTo>
                    <a:pt x="155" y="330"/>
                  </a:lnTo>
                  <a:lnTo>
                    <a:pt x="165" y="331"/>
                  </a:lnTo>
                  <a:lnTo>
                    <a:pt x="165" y="331"/>
                  </a:lnTo>
                  <a:lnTo>
                    <a:pt x="172" y="331"/>
                  </a:lnTo>
                  <a:lnTo>
                    <a:pt x="179" y="333"/>
                  </a:lnTo>
                  <a:lnTo>
                    <a:pt x="184" y="336"/>
                  </a:lnTo>
                  <a:lnTo>
                    <a:pt x="189" y="340"/>
                  </a:lnTo>
                  <a:lnTo>
                    <a:pt x="193" y="345"/>
                  </a:lnTo>
                  <a:lnTo>
                    <a:pt x="196" y="350"/>
                  </a:lnTo>
                  <a:lnTo>
                    <a:pt x="198" y="356"/>
                  </a:lnTo>
                  <a:lnTo>
                    <a:pt x="198" y="364"/>
                  </a:lnTo>
                  <a:lnTo>
                    <a:pt x="198"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6" name="Freeform 142">
              <a:extLst>
                <a:ext uri="{FF2B5EF4-FFF2-40B4-BE49-F238E27FC236}">
                  <a16:creationId xmlns:a16="http://schemas.microsoft.com/office/drawing/2014/main" id="{E6EF7FE4-E798-4DCD-A46D-A3077FCD1BDA}"/>
                </a:ext>
              </a:extLst>
            </p:cNvPr>
            <p:cNvSpPr>
              <a:spLocks noEditPoints="1"/>
            </p:cNvSpPr>
            <p:nvPr/>
          </p:nvSpPr>
          <p:spPr bwMode="auto">
            <a:xfrm>
              <a:off x="3443288" y="3338513"/>
              <a:ext cx="88900" cy="90488"/>
            </a:xfrm>
            <a:custGeom>
              <a:avLst/>
              <a:gdLst>
                <a:gd name="T0" fmla="*/ 179 w 397"/>
                <a:gd name="T1" fmla="*/ 396 h 397"/>
                <a:gd name="T2" fmla="*/ 122 w 397"/>
                <a:gd name="T3" fmla="*/ 382 h 397"/>
                <a:gd name="T4" fmla="*/ 72 w 397"/>
                <a:gd name="T5" fmla="*/ 353 h 397"/>
                <a:gd name="T6" fmla="*/ 34 w 397"/>
                <a:gd name="T7" fmla="*/ 311 h 397"/>
                <a:gd name="T8" fmla="*/ 9 w 397"/>
                <a:gd name="T9" fmla="*/ 258 h 397"/>
                <a:gd name="T10" fmla="*/ 0 w 397"/>
                <a:gd name="T11" fmla="*/ 199 h 397"/>
                <a:gd name="T12" fmla="*/ 4 w 397"/>
                <a:gd name="T13" fmla="*/ 160 h 397"/>
                <a:gd name="T14" fmla="*/ 24 w 397"/>
                <a:gd name="T15" fmla="*/ 105 h 397"/>
                <a:gd name="T16" fmla="*/ 59 w 397"/>
                <a:gd name="T17" fmla="*/ 59 h 397"/>
                <a:gd name="T18" fmla="*/ 104 w 397"/>
                <a:gd name="T19" fmla="*/ 25 h 397"/>
                <a:gd name="T20" fmla="*/ 159 w 397"/>
                <a:gd name="T21" fmla="*/ 4 h 397"/>
                <a:gd name="T22" fmla="*/ 199 w 397"/>
                <a:gd name="T23" fmla="*/ 0 h 397"/>
                <a:gd name="T24" fmla="*/ 258 w 397"/>
                <a:gd name="T25" fmla="*/ 10 h 397"/>
                <a:gd name="T26" fmla="*/ 310 w 397"/>
                <a:gd name="T27" fmla="*/ 34 h 397"/>
                <a:gd name="T28" fmla="*/ 352 w 397"/>
                <a:gd name="T29" fmla="*/ 73 h 397"/>
                <a:gd name="T30" fmla="*/ 382 w 397"/>
                <a:gd name="T31" fmla="*/ 122 h 397"/>
                <a:gd name="T32" fmla="*/ 396 w 397"/>
                <a:gd name="T33" fmla="*/ 179 h 397"/>
                <a:gd name="T34" fmla="*/ 396 w 397"/>
                <a:gd name="T35" fmla="*/ 220 h 397"/>
                <a:gd name="T36" fmla="*/ 382 w 397"/>
                <a:gd name="T37" fmla="*/ 276 h 397"/>
                <a:gd name="T38" fmla="*/ 352 w 397"/>
                <a:gd name="T39" fmla="*/ 326 h 397"/>
                <a:gd name="T40" fmla="*/ 310 w 397"/>
                <a:gd name="T41" fmla="*/ 364 h 397"/>
                <a:gd name="T42" fmla="*/ 258 w 397"/>
                <a:gd name="T43" fmla="*/ 389 h 397"/>
                <a:gd name="T44" fmla="*/ 199 w 397"/>
                <a:gd name="T45" fmla="*/ 397 h 397"/>
                <a:gd name="T46" fmla="*/ 199 w 397"/>
                <a:gd name="T47" fmla="*/ 66 h 397"/>
                <a:gd name="T48" fmla="*/ 159 w 397"/>
                <a:gd name="T49" fmla="*/ 73 h 397"/>
                <a:gd name="T50" fmla="*/ 125 w 397"/>
                <a:gd name="T51" fmla="*/ 89 h 397"/>
                <a:gd name="T52" fmla="*/ 96 w 397"/>
                <a:gd name="T53" fmla="*/ 115 h 397"/>
                <a:gd name="T54" fmla="*/ 76 w 397"/>
                <a:gd name="T55" fmla="*/ 148 h 397"/>
                <a:gd name="T56" fmla="*/ 67 w 397"/>
                <a:gd name="T57" fmla="*/ 185 h 397"/>
                <a:gd name="T58" fmla="*/ 67 w 397"/>
                <a:gd name="T59" fmla="*/ 213 h 397"/>
                <a:gd name="T60" fmla="*/ 76 w 397"/>
                <a:gd name="T61" fmla="*/ 251 h 397"/>
                <a:gd name="T62" fmla="*/ 96 w 397"/>
                <a:gd name="T63" fmla="*/ 284 h 397"/>
                <a:gd name="T64" fmla="*/ 125 w 397"/>
                <a:gd name="T65" fmla="*/ 310 h 397"/>
                <a:gd name="T66" fmla="*/ 159 w 397"/>
                <a:gd name="T67" fmla="*/ 326 h 397"/>
                <a:gd name="T68" fmla="*/ 199 w 397"/>
                <a:gd name="T69" fmla="*/ 331 h 397"/>
                <a:gd name="T70" fmla="*/ 225 w 397"/>
                <a:gd name="T71" fmla="*/ 329 h 397"/>
                <a:gd name="T72" fmla="*/ 262 w 397"/>
                <a:gd name="T73" fmla="*/ 316 h 397"/>
                <a:gd name="T74" fmla="*/ 293 w 397"/>
                <a:gd name="T75" fmla="*/ 293 h 397"/>
                <a:gd name="T76" fmla="*/ 315 w 397"/>
                <a:gd name="T77" fmla="*/ 262 h 397"/>
                <a:gd name="T78" fmla="*/ 329 w 397"/>
                <a:gd name="T79" fmla="*/ 226 h 397"/>
                <a:gd name="T80" fmla="*/ 331 w 397"/>
                <a:gd name="T81" fmla="*/ 199 h 397"/>
                <a:gd name="T82" fmla="*/ 326 w 397"/>
                <a:gd name="T83" fmla="*/ 160 h 397"/>
                <a:gd name="T84" fmla="*/ 308 w 397"/>
                <a:gd name="T85" fmla="*/ 125 h 397"/>
                <a:gd name="T86" fmla="*/ 283 w 397"/>
                <a:gd name="T87" fmla="*/ 97 h 397"/>
                <a:gd name="T88" fmla="*/ 250 w 397"/>
                <a:gd name="T89" fmla="*/ 77 h 397"/>
                <a:gd name="T90" fmla="*/ 212 w 397"/>
                <a:gd name="T91" fmla="*/ 6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7" h="397">
                  <a:moveTo>
                    <a:pt x="199" y="397"/>
                  </a:moveTo>
                  <a:lnTo>
                    <a:pt x="199" y="397"/>
                  </a:lnTo>
                  <a:lnTo>
                    <a:pt x="179" y="396"/>
                  </a:lnTo>
                  <a:lnTo>
                    <a:pt x="159" y="394"/>
                  </a:lnTo>
                  <a:lnTo>
                    <a:pt x="140" y="389"/>
                  </a:lnTo>
                  <a:lnTo>
                    <a:pt x="122" y="382"/>
                  </a:lnTo>
                  <a:lnTo>
                    <a:pt x="104" y="374"/>
                  </a:lnTo>
                  <a:lnTo>
                    <a:pt x="88" y="364"/>
                  </a:lnTo>
                  <a:lnTo>
                    <a:pt x="72" y="353"/>
                  </a:lnTo>
                  <a:lnTo>
                    <a:pt x="59" y="340"/>
                  </a:lnTo>
                  <a:lnTo>
                    <a:pt x="45" y="326"/>
                  </a:lnTo>
                  <a:lnTo>
                    <a:pt x="34" y="311"/>
                  </a:lnTo>
                  <a:lnTo>
                    <a:pt x="24" y="294"/>
                  </a:lnTo>
                  <a:lnTo>
                    <a:pt x="15" y="276"/>
                  </a:lnTo>
                  <a:lnTo>
                    <a:pt x="9" y="258"/>
                  </a:lnTo>
                  <a:lnTo>
                    <a:pt x="4" y="239"/>
                  </a:lnTo>
                  <a:lnTo>
                    <a:pt x="1" y="220"/>
                  </a:lnTo>
                  <a:lnTo>
                    <a:pt x="0" y="199"/>
                  </a:lnTo>
                  <a:lnTo>
                    <a:pt x="0" y="199"/>
                  </a:lnTo>
                  <a:lnTo>
                    <a:pt x="1" y="179"/>
                  </a:lnTo>
                  <a:lnTo>
                    <a:pt x="4" y="160"/>
                  </a:lnTo>
                  <a:lnTo>
                    <a:pt x="9" y="140"/>
                  </a:lnTo>
                  <a:lnTo>
                    <a:pt x="15" y="122"/>
                  </a:lnTo>
                  <a:lnTo>
                    <a:pt x="24" y="105"/>
                  </a:lnTo>
                  <a:lnTo>
                    <a:pt x="34" y="88"/>
                  </a:lnTo>
                  <a:lnTo>
                    <a:pt x="45" y="73"/>
                  </a:lnTo>
                  <a:lnTo>
                    <a:pt x="59" y="59"/>
                  </a:lnTo>
                  <a:lnTo>
                    <a:pt x="72" y="46"/>
                  </a:lnTo>
                  <a:lnTo>
                    <a:pt x="88" y="34"/>
                  </a:lnTo>
                  <a:lnTo>
                    <a:pt x="104" y="25"/>
                  </a:lnTo>
                  <a:lnTo>
                    <a:pt x="122" y="16"/>
                  </a:lnTo>
                  <a:lnTo>
                    <a:pt x="140" y="10"/>
                  </a:lnTo>
                  <a:lnTo>
                    <a:pt x="159" y="4"/>
                  </a:lnTo>
                  <a:lnTo>
                    <a:pt x="179" y="1"/>
                  </a:lnTo>
                  <a:lnTo>
                    <a:pt x="199" y="0"/>
                  </a:lnTo>
                  <a:lnTo>
                    <a:pt x="199" y="0"/>
                  </a:lnTo>
                  <a:lnTo>
                    <a:pt x="219" y="1"/>
                  </a:lnTo>
                  <a:lnTo>
                    <a:pt x="239" y="4"/>
                  </a:lnTo>
                  <a:lnTo>
                    <a:pt x="258" y="10"/>
                  </a:lnTo>
                  <a:lnTo>
                    <a:pt x="276" y="16"/>
                  </a:lnTo>
                  <a:lnTo>
                    <a:pt x="294" y="25"/>
                  </a:lnTo>
                  <a:lnTo>
                    <a:pt x="310" y="34"/>
                  </a:lnTo>
                  <a:lnTo>
                    <a:pt x="325" y="46"/>
                  </a:lnTo>
                  <a:lnTo>
                    <a:pt x="339" y="59"/>
                  </a:lnTo>
                  <a:lnTo>
                    <a:pt x="352" y="73"/>
                  </a:lnTo>
                  <a:lnTo>
                    <a:pt x="363" y="88"/>
                  </a:lnTo>
                  <a:lnTo>
                    <a:pt x="373" y="105"/>
                  </a:lnTo>
                  <a:lnTo>
                    <a:pt x="382" y="122"/>
                  </a:lnTo>
                  <a:lnTo>
                    <a:pt x="389" y="140"/>
                  </a:lnTo>
                  <a:lnTo>
                    <a:pt x="393" y="160"/>
                  </a:lnTo>
                  <a:lnTo>
                    <a:pt x="396" y="179"/>
                  </a:lnTo>
                  <a:lnTo>
                    <a:pt x="397" y="199"/>
                  </a:lnTo>
                  <a:lnTo>
                    <a:pt x="397" y="199"/>
                  </a:lnTo>
                  <a:lnTo>
                    <a:pt x="396" y="220"/>
                  </a:lnTo>
                  <a:lnTo>
                    <a:pt x="393" y="239"/>
                  </a:lnTo>
                  <a:lnTo>
                    <a:pt x="389" y="258"/>
                  </a:lnTo>
                  <a:lnTo>
                    <a:pt x="382" y="276"/>
                  </a:lnTo>
                  <a:lnTo>
                    <a:pt x="373" y="294"/>
                  </a:lnTo>
                  <a:lnTo>
                    <a:pt x="363" y="311"/>
                  </a:lnTo>
                  <a:lnTo>
                    <a:pt x="352" y="326"/>
                  </a:lnTo>
                  <a:lnTo>
                    <a:pt x="339" y="340"/>
                  </a:lnTo>
                  <a:lnTo>
                    <a:pt x="325" y="353"/>
                  </a:lnTo>
                  <a:lnTo>
                    <a:pt x="310" y="364"/>
                  </a:lnTo>
                  <a:lnTo>
                    <a:pt x="294" y="374"/>
                  </a:lnTo>
                  <a:lnTo>
                    <a:pt x="276" y="382"/>
                  </a:lnTo>
                  <a:lnTo>
                    <a:pt x="258" y="389"/>
                  </a:lnTo>
                  <a:lnTo>
                    <a:pt x="239" y="394"/>
                  </a:lnTo>
                  <a:lnTo>
                    <a:pt x="219" y="396"/>
                  </a:lnTo>
                  <a:lnTo>
                    <a:pt x="199" y="397"/>
                  </a:lnTo>
                  <a:lnTo>
                    <a:pt x="199" y="397"/>
                  </a:lnTo>
                  <a:close/>
                  <a:moveTo>
                    <a:pt x="199" y="66"/>
                  </a:moveTo>
                  <a:lnTo>
                    <a:pt x="199" y="66"/>
                  </a:lnTo>
                  <a:lnTo>
                    <a:pt x="185" y="67"/>
                  </a:lnTo>
                  <a:lnTo>
                    <a:pt x="172" y="70"/>
                  </a:lnTo>
                  <a:lnTo>
                    <a:pt x="159" y="73"/>
                  </a:lnTo>
                  <a:lnTo>
                    <a:pt x="147" y="77"/>
                  </a:lnTo>
                  <a:lnTo>
                    <a:pt x="135" y="83"/>
                  </a:lnTo>
                  <a:lnTo>
                    <a:pt x="125" y="89"/>
                  </a:lnTo>
                  <a:lnTo>
                    <a:pt x="115" y="97"/>
                  </a:lnTo>
                  <a:lnTo>
                    <a:pt x="105" y="106"/>
                  </a:lnTo>
                  <a:lnTo>
                    <a:pt x="96" y="115"/>
                  </a:lnTo>
                  <a:lnTo>
                    <a:pt x="89" y="125"/>
                  </a:lnTo>
                  <a:lnTo>
                    <a:pt x="83" y="136"/>
                  </a:lnTo>
                  <a:lnTo>
                    <a:pt x="76" y="148"/>
                  </a:lnTo>
                  <a:lnTo>
                    <a:pt x="72" y="160"/>
                  </a:lnTo>
                  <a:lnTo>
                    <a:pt x="69" y="173"/>
                  </a:lnTo>
                  <a:lnTo>
                    <a:pt x="67" y="185"/>
                  </a:lnTo>
                  <a:lnTo>
                    <a:pt x="66" y="199"/>
                  </a:lnTo>
                  <a:lnTo>
                    <a:pt x="66" y="199"/>
                  </a:lnTo>
                  <a:lnTo>
                    <a:pt x="67" y="213"/>
                  </a:lnTo>
                  <a:lnTo>
                    <a:pt x="69" y="226"/>
                  </a:lnTo>
                  <a:lnTo>
                    <a:pt x="72" y="238"/>
                  </a:lnTo>
                  <a:lnTo>
                    <a:pt x="76" y="251"/>
                  </a:lnTo>
                  <a:lnTo>
                    <a:pt x="83" y="262"/>
                  </a:lnTo>
                  <a:lnTo>
                    <a:pt x="89" y="273"/>
                  </a:lnTo>
                  <a:lnTo>
                    <a:pt x="96" y="284"/>
                  </a:lnTo>
                  <a:lnTo>
                    <a:pt x="105" y="293"/>
                  </a:lnTo>
                  <a:lnTo>
                    <a:pt x="115" y="301"/>
                  </a:lnTo>
                  <a:lnTo>
                    <a:pt x="125" y="310"/>
                  </a:lnTo>
                  <a:lnTo>
                    <a:pt x="135" y="316"/>
                  </a:lnTo>
                  <a:lnTo>
                    <a:pt x="147" y="321"/>
                  </a:lnTo>
                  <a:lnTo>
                    <a:pt x="159" y="326"/>
                  </a:lnTo>
                  <a:lnTo>
                    <a:pt x="172" y="329"/>
                  </a:lnTo>
                  <a:lnTo>
                    <a:pt x="185" y="331"/>
                  </a:lnTo>
                  <a:lnTo>
                    <a:pt x="199" y="331"/>
                  </a:lnTo>
                  <a:lnTo>
                    <a:pt x="199" y="331"/>
                  </a:lnTo>
                  <a:lnTo>
                    <a:pt x="212" y="331"/>
                  </a:lnTo>
                  <a:lnTo>
                    <a:pt x="225" y="329"/>
                  </a:lnTo>
                  <a:lnTo>
                    <a:pt x="238" y="326"/>
                  </a:lnTo>
                  <a:lnTo>
                    <a:pt x="250" y="321"/>
                  </a:lnTo>
                  <a:lnTo>
                    <a:pt x="262" y="316"/>
                  </a:lnTo>
                  <a:lnTo>
                    <a:pt x="273" y="310"/>
                  </a:lnTo>
                  <a:lnTo>
                    <a:pt x="283" y="301"/>
                  </a:lnTo>
                  <a:lnTo>
                    <a:pt x="293" y="293"/>
                  </a:lnTo>
                  <a:lnTo>
                    <a:pt x="301" y="284"/>
                  </a:lnTo>
                  <a:lnTo>
                    <a:pt x="308" y="273"/>
                  </a:lnTo>
                  <a:lnTo>
                    <a:pt x="315" y="262"/>
                  </a:lnTo>
                  <a:lnTo>
                    <a:pt x="321" y="251"/>
                  </a:lnTo>
                  <a:lnTo>
                    <a:pt x="326" y="238"/>
                  </a:lnTo>
                  <a:lnTo>
                    <a:pt x="329" y="226"/>
                  </a:lnTo>
                  <a:lnTo>
                    <a:pt x="331" y="213"/>
                  </a:lnTo>
                  <a:lnTo>
                    <a:pt x="331" y="199"/>
                  </a:lnTo>
                  <a:lnTo>
                    <a:pt x="331" y="199"/>
                  </a:lnTo>
                  <a:lnTo>
                    <a:pt x="331" y="185"/>
                  </a:lnTo>
                  <a:lnTo>
                    <a:pt x="329" y="173"/>
                  </a:lnTo>
                  <a:lnTo>
                    <a:pt x="326" y="160"/>
                  </a:lnTo>
                  <a:lnTo>
                    <a:pt x="321" y="148"/>
                  </a:lnTo>
                  <a:lnTo>
                    <a:pt x="315" y="136"/>
                  </a:lnTo>
                  <a:lnTo>
                    <a:pt x="308" y="125"/>
                  </a:lnTo>
                  <a:lnTo>
                    <a:pt x="301" y="115"/>
                  </a:lnTo>
                  <a:lnTo>
                    <a:pt x="293" y="106"/>
                  </a:lnTo>
                  <a:lnTo>
                    <a:pt x="283" y="97"/>
                  </a:lnTo>
                  <a:lnTo>
                    <a:pt x="273" y="89"/>
                  </a:lnTo>
                  <a:lnTo>
                    <a:pt x="262" y="83"/>
                  </a:lnTo>
                  <a:lnTo>
                    <a:pt x="250" y="77"/>
                  </a:lnTo>
                  <a:lnTo>
                    <a:pt x="238" y="73"/>
                  </a:lnTo>
                  <a:lnTo>
                    <a:pt x="225" y="70"/>
                  </a:lnTo>
                  <a:lnTo>
                    <a:pt x="212" y="67"/>
                  </a:lnTo>
                  <a:lnTo>
                    <a:pt x="199" y="66"/>
                  </a:lnTo>
                  <a:lnTo>
                    <a:pt x="1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7" name="Freeform 143">
              <a:extLst>
                <a:ext uri="{FF2B5EF4-FFF2-40B4-BE49-F238E27FC236}">
                  <a16:creationId xmlns:a16="http://schemas.microsoft.com/office/drawing/2014/main" id="{5C73FD1B-8F65-4EF2-9C88-21E3F83BC52E}"/>
                </a:ext>
              </a:extLst>
            </p:cNvPr>
            <p:cNvSpPr>
              <a:spLocks noEditPoints="1"/>
            </p:cNvSpPr>
            <p:nvPr/>
          </p:nvSpPr>
          <p:spPr bwMode="auto">
            <a:xfrm>
              <a:off x="3397250" y="3308351"/>
              <a:ext cx="180975" cy="301625"/>
            </a:xfrm>
            <a:custGeom>
              <a:avLst/>
              <a:gdLst>
                <a:gd name="T0" fmla="*/ 99 w 795"/>
                <a:gd name="T1" fmla="*/ 1325 h 1325"/>
                <a:gd name="T2" fmla="*/ 89 w 795"/>
                <a:gd name="T3" fmla="*/ 1324 h 1325"/>
                <a:gd name="T4" fmla="*/ 71 w 795"/>
                <a:gd name="T5" fmla="*/ 1320 h 1325"/>
                <a:gd name="T6" fmla="*/ 52 w 795"/>
                <a:gd name="T7" fmla="*/ 1313 h 1325"/>
                <a:gd name="T8" fmla="*/ 36 w 795"/>
                <a:gd name="T9" fmla="*/ 1302 h 1325"/>
                <a:gd name="T10" fmla="*/ 23 w 795"/>
                <a:gd name="T11" fmla="*/ 1289 h 1325"/>
                <a:gd name="T12" fmla="*/ 13 w 795"/>
                <a:gd name="T13" fmla="*/ 1272 h 1325"/>
                <a:gd name="T14" fmla="*/ 4 w 795"/>
                <a:gd name="T15" fmla="*/ 1255 h 1325"/>
                <a:gd name="T16" fmla="*/ 1 w 795"/>
                <a:gd name="T17" fmla="*/ 1236 h 1325"/>
                <a:gd name="T18" fmla="*/ 0 w 795"/>
                <a:gd name="T19" fmla="*/ 99 h 1325"/>
                <a:gd name="T20" fmla="*/ 1 w 795"/>
                <a:gd name="T21" fmla="*/ 90 h 1325"/>
                <a:gd name="T22" fmla="*/ 4 w 795"/>
                <a:gd name="T23" fmla="*/ 70 h 1325"/>
                <a:gd name="T24" fmla="*/ 13 w 795"/>
                <a:gd name="T25" fmla="*/ 53 h 1325"/>
                <a:gd name="T26" fmla="*/ 23 w 795"/>
                <a:gd name="T27" fmla="*/ 36 h 1325"/>
                <a:gd name="T28" fmla="*/ 36 w 795"/>
                <a:gd name="T29" fmla="*/ 23 h 1325"/>
                <a:gd name="T30" fmla="*/ 52 w 795"/>
                <a:gd name="T31" fmla="*/ 12 h 1325"/>
                <a:gd name="T32" fmla="*/ 71 w 795"/>
                <a:gd name="T33" fmla="*/ 5 h 1325"/>
                <a:gd name="T34" fmla="*/ 89 w 795"/>
                <a:gd name="T35" fmla="*/ 1 h 1325"/>
                <a:gd name="T36" fmla="*/ 696 w 795"/>
                <a:gd name="T37" fmla="*/ 0 h 1325"/>
                <a:gd name="T38" fmla="*/ 706 w 795"/>
                <a:gd name="T39" fmla="*/ 1 h 1325"/>
                <a:gd name="T40" fmla="*/ 726 w 795"/>
                <a:gd name="T41" fmla="*/ 5 h 1325"/>
                <a:gd name="T42" fmla="*/ 743 w 795"/>
                <a:gd name="T43" fmla="*/ 12 h 1325"/>
                <a:gd name="T44" fmla="*/ 759 w 795"/>
                <a:gd name="T45" fmla="*/ 23 h 1325"/>
                <a:gd name="T46" fmla="*/ 772 w 795"/>
                <a:gd name="T47" fmla="*/ 36 h 1325"/>
                <a:gd name="T48" fmla="*/ 784 w 795"/>
                <a:gd name="T49" fmla="*/ 53 h 1325"/>
                <a:gd name="T50" fmla="*/ 791 w 795"/>
                <a:gd name="T51" fmla="*/ 70 h 1325"/>
                <a:gd name="T52" fmla="*/ 795 w 795"/>
                <a:gd name="T53" fmla="*/ 90 h 1325"/>
                <a:gd name="T54" fmla="*/ 795 w 795"/>
                <a:gd name="T55" fmla="*/ 1226 h 1325"/>
                <a:gd name="T56" fmla="*/ 795 w 795"/>
                <a:gd name="T57" fmla="*/ 1236 h 1325"/>
                <a:gd name="T58" fmla="*/ 791 w 795"/>
                <a:gd name="T59" fmla="*/ 1255 h 1325"/>
                <a:gd name="T60" fmla="*/ 784 w 795"/>
                <a:gd name="T61" fmla="*/ 1272 h 1325"/>
                <a:gd name="T62" fmla="*/ 772 w 795"/>
                <a:gd name="T63" fmla="*/ 1289 h 1325"/>
                <a:gd name="T64" fmla="*/ 759 w 795"/>
                <a:gd name="T65" fmla="*/ 1302 h 1325"/>
                <a:gd name="T66" fmla="*/ 743 w 795"/>
                <a:gd name="T67" fmla="*/ 1313 h 1325"/>
                <a:gd name="T68" fmla="*/ 726 w 795"/>
                <a:gd name="T69" fmla="*/ 1320 h 1325"/>
                <a:gd name="T70" fmla="*/ 706 w 795"/>
                <a:gd name="T71" fmla="*/ 1324 h 1325"/>
                <a:gd name="T72" fmla="*/ 696 w 795"/>
                <a:gd name="T73" fmla="*/ 1325 h 1325"/>
                <a:gd name="T74" fmla="*/ 99 w 795"/>
                <a:gd name="T75" fmla="*/ 66 h 1325"/>
                <a:gd name="T76" fmla="*/ 87 w 795"/>
                <a:gd name="T77" fmla="*/ 69 h 1325"/>
                <a:gd name="T78" fmla="*/ 77 w 795"/>
                <a:gd name="T79" fmla="*/ 76 h 1325"/>
                <a:gd name="T80" fmla="*/ 69 w 795"/>
                <a:gd name="T81" fmla="*/ 87 h 1325"/>
                <a:gd name="T82" fmla="*/ 66 w 795"/>
                <a:gd name="T83" fmla="*/ 99 h 1325"/>
                <a:gd name="T84" fmla="*/ 66 w 795"/>
                <a:gd name="T85" fmla="*/ 1226 h 1325"/>
                <a:gd name="T86" fmla="*/ 69 w 795"/>
                <a:gd name="T87" fmla="*/ 1238 h 1325"/>
                <a:gd name="T88" fmla="*/ 77 w 795"/>
                <a:gd name="T89" fmla="*/ 1248 h 1325"/>
                <a:gd name="T90" fmla="*/ 87 w 795"/>
                <a:gd name="T91" fmla="*/ 1256 h 1325"/>
                <a:gd name="T92" fmla="*/ 99 w 795"/>
                <a:gd name="T93" fmla="*/ 1259 h 1325"/>
                <a:gd name="T94" fmla="*/ 696 w 795"/>
                <a:gd name="T95" fmla="*/ 1259 h 1325"/>
                <a:gd name="T96" fmla="*/ 709 w 795"/>
                <a:gd name="T97" fmla="*/ 1256 h 1325"/>
                <a:gd name="T98" fmla="*/ 719 w 795"/>
                <a:gd name="T99" fmla="*/ 1248 h 1325"/>
                <a:gd name="T100" fmla="*/ 727 w 795"/>
                <a:gd name="T101" fmla="*/ 1238 h 1325"/>
                <a:gd name="T102" fmla="*/ 729 w 795"/>
                <a:gd name="T103" fmla="*/ 1226 h 1325"/>
                <a:gd name="T104" fmla="*/ 729 w 795"/>
                <a:gd name="T105" fmla="*/ 99 h 1325"/>
                <a:gd name="T106" fmla="*/ 727 w 795"/>
                <a:gd name="T107" fmla="*/ 87 h 1325"/>
                <a:gd name="T108" fmla="*/ 719 w 795"/>
                <a:gd name="T109" fmla="*/ 76 h 1325"/>
                <a:gd name="T110" fmla="*/ 709 w 795"/>
                <a:gd name="T111" fmla="*/ 69 h 1325"/>
                <a:gd name="T112" fmla="*/ 696 w 795"/>
                <a:gd name="T113" fmla="*/ 66 h 1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5" h="1325">
                  <a:moveTo>
                    <a:pt x="696" y="1325"/>
                  </a:moveTo>
                  <a:lnTo>
                    <a:pt x="99" y="1325"/>
                  </a:lnTo>
                  <a:lnTo>
                    <a:pt x="99" y="1325"/>
                  </a:lnTo>
                  <a:lnTo>
                    <a:pt x="89" y="1324"/>
                  </a:lnTo>
                  <a:lnTo>
                    <a:pt x="80" y="1323"/>
                  </a:lnTo>
                  <a:lnTo>
                    <a:pt x="71" y="1320"/>
                  </a:lnTo>
                  <a:lnTo>
                    <a:pt x="61" y="1317"/>
                  </a:lnTo>
                  <a:lnTo>
                    <a:pt x="52" y="1313"/>
                  </a:lnTo>
                  <a:lnTo>
                    <a:pt x="45" y="1307"/>
                  </a:lnTo>
                  <a:lnTo>
                    <a:pt x="36" y="1302"/>
                  </a:lnTo>
                  <a:lnTo>
                    <a:pt x="29" y="1296"/>
                  </a:lnTo>
                  <a:lnTo>
                    <a:pt x="23" y="1289"/>
                  </a:lnTo>
                  <a:lnTo>
                    <a:pt x="18" y="1281"/>
                  </a:lnTo>
                  <a:lnTo>
                    <a:pt x="13" y="1272"/>
                  </a:lnTo>
                  <a:lnTo>
                    <a:pt x="8" y="1264"/>
                  </a:lnTo>
                  <a:lnTo>
                    <a:pt x="4" y="1255"/>
                  </a:lnTo>
                  <a:lnTo>
                    <a:pt x="2" y="1245"/>
                  </a:lnTo>
                  <a:lnTo>
                    <a:pt x="1" y="1236"/>
                  </a:lnTo>
                  <a:lnTo>
                    <a:pt x="0" y="1226"/>
                  </a:lnTo>
                  <a:lnTo>
                    <a:pt x="0" y="99"/>
                  </a:lnTo>
                  <a:lnTo>
                    <a:pt x="0" y="99"/>
                  </a:lnTo>
                  <a:lnTo>
                    <a:pt x="1" y="90"/>
                  </a:lnTo>
                  <a:lnTo>
                    <a:pt x="2" y="79"/>
                  </a:lnTo>
                  <a:lnTo>
                    <a:pt x="4" y="70"/>
                  </a:lnTo>
                  <a:lnTo>
                    <a:pt x="8" y="61"/>
                  </a:lnTo>
                  <a:lnTo>
                    <a:pt x="13" y="53"/>
                  </a:lnTo>
                  <a:lnTo>
                    <a:pt x="18" y="44"/>
                  </a:lnTo>
                  <a:lnTo>
                    <a:pt x="23" y="36"/>
                  </a:lnTo>
                  <a:lnTo>
                    <a:pt x="29" y="30"/>
                  </a:lnTo>
                  <a:lnTo>
                    <a:pt x="36" y="23"/>
                  </a:lnTo>
                  <a:lnTo>
                    <a:pt x="45" y="17"/>
                  </a:lnTo>
                  <a:lnTo>
                    <a:pt x="52" y="12"/>
                  </a:lnTo>
                  <a:lnTo>
                    <a:pt x="61" y="8"/>
                  </a:lnTo>
                  <a:lnTo>
                    <a:pt x="71" y="5"/>
                  </a:lnTo>
                  <a:lnTo>
                    <a:pt x="80" y="2"/>
                  </a:lnTo>
                  <a:lnTo>
                    <a:pt x="89" y="1"/>
                  </a:lnTo>
                  <a:lnTo>
                    <a:pt x="99" y="0"/>
                  </a:lnTo>
                  <a:lnTo>
                    <a:pt x="696" y="0"/>
                  </a:lnTo>
                  <a:lnTo>
                    <a:pt x="696" y="0"/>
                  </a:lnTo>
                  <a:lnTo>
                    <a:pt x="706" y="1"/>
                  </a:lnTo>
                  <a:lnTo>
                    <a:pt x="716" y="2"/>
                  </a:lnTo>
                  <a:lnTo>
                    <a:pt x="726" y="5"/>
                  </a:lnTo>
                  <a:lnTo>
                    <a:pt x="735" y="8"/>
                  </a:lnTo>
                  <a:lnTo>
                    <a:pt x="743" y="12"/>
                  </a:lnTo>
                  <a:lnTo>
                    <a:pt x="751" y="17"/>
                  </a:lnTo>
                  <a:lnTo>
                    <a:pt x="759" y="23"/>
                  </a:lnTo>
                  <a:lnTo>
                    <a:pt x="766" y="30"/>
                  </a:lnTo>
                  <a:lnTo>
                    <a:pt x="772" y="36"/>
                  </a:lnTo>
                  <a:lnTo>
                    <a:pt x="778" y="44"/>
                  </a:lnTo>
                  <a:lnTo>
                    <a:pt x="784" y="53"/>
                  </a:lnTo>
                  <a:lnTo>
                    <a:pt x="788" y="61"/>
                  </a:lnTo>
                  <a:lnTo>
                    <a:pt x="791" y="70"/>
                  </a:lnTo>
                  <a:lnTo>
                    <a:pt x="793" y="79"/>
                  </a:lnTo>
                  <a:lnTo>
                    <a:pt x="795" y="90"/>
                  </a:lnTo>
                  <a:lnTo>
                    <a:pt x="795" y="99"/>
                  </a:lnTo>
                  <a:lnTo>
                    <a:pt x="795" y="1226"/>
                  </a:lnTo>
                  <a:lnTo>
                    <a:pt x="795" y="1226"/>
                  </a:lnTo>
                  <a:lnTo>
                    <a:pt x="795" y="1236"/>
                  </a:lnTo>
                  <a:lnTo>
                    <a:pt x="793" y="1245"/>
                  </a:lnTo>
                  <a:lnTo>
                    <a:pt x="791" y="1255"/>
                  </a:lnTo>
                  <a:lnTo>
                    <a:pt x="788" y="1264"/>
                  </a:lnTo>
                  <a:lnTo>
                    <a:pt x="784" y="1272"/>
                  </a:lnTo>
                  <a:lnTo>
                    <a:pt x="778" y="1281"/>
                  </a:lnTo>
                  <a:lnTo>
                    <a:pt x="772" y="1289"/>
                  </a:lnTo>
                  <a:lnTo>
                    <a:pt x="766" y="1296"/>
                  </a:lnTo>
                  <a:lnTo>
                    <a:pt x="759" y="1302"/>
                  </a:lnTo>
                  <a:lnTo>
                    <a:pt x="751" y="1307"/>
                  </a:lnTo>
                  <a:lnTo>
                    <a:pt x="743" y="1313"/>
                  </a:lnTo>
                  <a:lnTo>
                    <a:pt x="735" y="1317"/>
                  </a:lnTo>
                  <a:lnTo>
                    <a:pt x="726" y="1320"/>
                  </a:lnTo>
                  <a:lnTo>
                    <a:pt x="716" y="1323"/>
                  </a:lnTo>
                  <a:lnTo>
                    <a:pt x="706" y="1324"/>
                  </a:lnTo>
                  <a:lnTo>
                    <a:pt x="696" y="1325"/>
                  </a:lnTo>
                  <a:lnTo>
                    <a:pt x="696" y="1325"/>
                  </a:lnTo>
                  <a:close/>
                  <a:moveTo>
                    <a:pt x="99" y="66"/>
                  </a:moveTo>
                  <a:lnTo>
                    <a:pt x="99" y="66"/>
                  </a:lnTo>
                  <a:lnTo>
                    <a:pt x="93" y="67"/>
                  </a:lnTo>
                  <a:lnTo>
                    <a:pt x="87" y="69"/>
                  </a:lnTo>
                  <a:lnTo>
                    <a:pt x="81" y="72"/>
                  </a:lnTo>
                  <a:lnTo>
                    <a:pt x="77" y="76"/>
                  </a:lnTo>
                  <a:lnTo>
                    <a:pt x="73" y="82"/>
                  </a:lnTo>
                  <a:lnTo>
                    <a:pt x="69" y="87"/>
                  </a:lnTo>
                  <a:lnTo>
                    <a:pt x="67" y="93"/>
                  </a:lnTo>
                  <a:lnTo>
                    <a:pt x="66" y="99"/>
                  </a:lnTo>
                  <a:lnTo>
                    <a:pt x="66" y="1226"/>
                  </a:lnTo>
                  <a:lnTo>
                    <a:pt x="66" y="1226"/>
                  </a:lnTo>
                  <a:lnTo>
                    <a:pt x="67" y="1232"/>
                  </a:lnTo>
                  <a:lnTo>
                    <a:pt x="69" y="1238"/>
                  </a:lnTo>
                  <a:lnTo>
                    <a:pt x="73" y="1244"/>
                  </a:lnTo>
                  <a:lnTo>
                    <a:pt x="77" y="1248"/>
                  </a:lnTo>
                  <a:lnTo>
                    <a:pt x="81" y="1253"/>
                  </a:lnTo>
                  <a:lnTo>
                    <a:pt x="87" y="1256"/>
                  </a:lnTo>
                  <a:lnTo>
                    <a:pt x="93" y="1258"/>
                  </a:lnTo>
                  <a:lnTo>
                    <a:pt x="99" y="1259"/>
                  </a:lnTo>
                  <a:lnTo>
                    <a:pt x="696" y="1259"/>
                  </a:lnTo>
                  <a:lnTo>
                    <a:pt x="696" y="1259"/>
                  </a:lnTo>
                  <a:lnTo>
                    <a:pt x="703" y="1258"/>
                  </a:lnTo>
                  <a:lnTo>
                    <a:pt x="709" y="1256"/>
                  </a:lnTo>
                  <a:lnTo>
                    <a:pt x="714" y="1253"/>
                  </a:lnTo>
                  <a:lnTo>
                    <a:pt x="719" y="1248"/>
                  </a:lnTo>
                  <a:lnTo>
                    <a:pt x="724" y="1244"/>
                  </a:lnTo>
                  <a:lnTo>
                    <a:pt x="727" y="1238"/>
                  </a:lnTo>
                  <a:lnTo>
                    <a:pt x="729" y="1232"/>
                  </a:lnTo>
                  <a:lnTo>
                    <a:pt x="729" y="1226"/>
                  </a:lnTo>
                  <a:lnTo>
                    <a:pt x="729" y="99"/>
                  </a:lnTo>
                  <a:lnTo>
                    <a:pt x="729" y="99"/>
                  </a:lnTo>
                  <a:lnTo>
                    <a:pt x="729" y="93"/>
                  </a:lnTo>
                  <a:lnTo>
                    <a:pt x="727" y="87"/>
                  </a:lnTo>
                  <a:lnTo>
                    <a:pt x="724" y="82"/>
                  </a:lnTo>
                  <a:lnTo>
                    <a:pt x="719" y="76"/>
                  </a:lnTo>
                  <a:lnTo>
                    <a:pt x="714" y="72"/>
                  </a:lnTo>
                  <a:lnTo>
                    <a:pt x="709" y="69"/>
                  </a:lnTo>
                  <a:lnTo>
                    <a:pt x="703" y="67"/>
                  </a:lnTo>
                  <a:lnTo>
                    <a:pt x="696" y="66"/>
                  </a:lnTo>
                  <a:lnTo>
                    <a:pt x="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8" name="Freeform 144">
              <a:extLst>
                <a:ext uri="{FF2B5EF4-FFF2-40B4-BE49-F238E27FC236}">
                  <a16:creationId xmlns:a16="http://schemas.microsoft.com/office/drawing/2014/main" id="{D9200ACD-05E6-4FE5-8953-EC2034B8AE85}"/>
                </a:ext>
              </a:extLst>
            </p:cNvPr>
            <p:cNvSpPr>
              <a:spLocks noEditPoints="1"/>
            </p:cNvSpPr>
            <p:nvPr/>
          </p:nvSpPr>
          <p:spPr bwMode="auto">
            <a:xfrm>
              <a:off x="3413125"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5 w 199"/>
                <a:gd name="T11" fmla="*/ 192 h 198"/>
                <a:gd name="T12" fmla="*/ 11 w 199"/>
                <a:gd name="T13" fmla="*/ 188 h 198"/>
                <a:gd name="T14" fmla="*/ 7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7 w 199"/>
                <a:gd name="T31" fmla="*/ 14 h 198"/>
                <a:gd name="T32" fmla="*/ 11 w 199"/>
                <a:gd name="T33" fmla="*/ 9 h 198"/>
                <a:gd name="T34" fmla="*/ 15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5 w 199"/>
                <a:gd name="T51" fmla="*/ 5 h 198"/>
                <a:gd name="T52" fmla="*/ 190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90 w 199"/>
                <a:gd name="T73" fmla="*/ 188 h 198"/>
                <a:gd name="T74" fmla="*/ 185 w 199"/>
                <a:gd name="T75" fmla="*/ 192 h 198"/>
                <a:gd name="T76" fmla="*/ 179 w 199"/>
                <a:gd name="T77" fmla="*/ 195 h 198"/>
                <a:gd name="T78" fmla="*/ 173 w 199"/>
                <a:gd name="T79" fmla="*/ 197 h 198"/>
                <a:gd name="T80" fmla="*/ 166 w 199"/>
                <a:gd name="T81" fmla="*/ 198 h 198"/>
                <a:gd name="T82" fmla="*/ 166 w 199"/>
                <a:gd name="T83" fmla="*/ 198 h 198"/>
                <a:gd name="T84" fmla="*/ 67 w 199"/>
                <a:gd name="T85" fmla="*/ 132 h 198"/>
                <a:gd name="T86" fmla="*/ 133 w 199"/>
                <a:gd name="T87" fmla="*/ 132 h 198"/>
                <a:gd name="T88" fmla="*/ 133 w 199"/>
                <a:gd name="T89" fmla="*/ 66 h 198"/>
                <a:gd name="T90" fmla="*/ 67 w 199"/>
                <a:gd name="T91" fmla="*/ 66 h 198"/>
                <a:gd name="T92" fmla="*/ 67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5" y="192"/>
                  </a:lnTo>
                  <a:lnTo>
                    <a:pt x="11" y="188"/>
                  </a:lnTo>
                  <a:lnTo>
                    <a:pt x="7" y="184"/>
                  </a:lnTo>
                  <a:lnTo>
                    <a:pt x="3" y="178"/>
                  </a:lnTo>
                  <a:lnTo>
                    <a:pt x="1" y="172"/>
                  </a:lnTo>
                  <a:lnTo>
                    <a:pt x="0" y="165"/>
                  </a:lnTo>
                  <a:lnTo>
                    <a:pt x="0" y="33"/>
                  </a:lnTo>
                  <a:lnTo>
                    <a:pt x="0" y="33"/>
                  </a:lnTo>
                  <a:lnTo>
                    <a:pt x="1" y="26"/>
                  </a:lnTo>
                  <a:lnTo>
                    <a:pt x="3" y="19"/>
                  </a:lnTo>
                  <a:lnTo>
                    <a:pt x="7" y="14"/>
                  </a:lnTo>
                  <a:lnTo>
                    <a:pt x="11" y="9"/>
                  </a:lnTo>
                  <a:lnTo>
                    <a:pt x="15" y="5"/>
                  </a:lnTo>
                  <a:lnTo>
                    <a:pt x="21" y="2"/>
                  </a:lnTo>
                  <a:lnTo>
                    <a:pt x="27" y="0"/>
                  </a:lnTo>
                  <a:lnTo>
                    <a:pt x="33" y="0"/>
                  </a:lnTo>
                  <a:lnTo>
                    <a:pt x="166" y="0"/>
                  </a:lnTo>
                  <a:lnTo>
                    <a:pt x="166" y="0"/>
                  </a:lnTo>
                  <a:lnTo>
                    <a:pt x="173" y="0"/>
                  </a:lnTo>
                  <a:lnTo>
                    <a:pt x="179" y="2"/>
                  </a:lnTo>
                  <a:lnTo>
                    <a:pt x="185" y="5"/>
                  </a:lnTo>
                  <a:lnTo>
                    <a:pt x="190" y="9"/>
                  </a:lnTo>
                  <a:lnTo>
                    <a:pt x="194" y="14"/>
                  </a:lnTo>
                  <a:lnTo>
                    <a:pt x="197" y="19"/>
                  </a:lnTo>
                  <a:lnTo>
                    <a:pt x="199" y="26"/>
                  </a:lnTo>
                  <a:lnTo>
                    <a:pt x="199" y="33"/>
                  </a:lnTo>
                  <a:lnTo>
                    <a:pt x="199" y="165"/>
                  </a:lnTo>
                  <a:lnTo>
                    <a:pt x="199" y="165"/>
                  </a:lnTo>
                  <a:lnTo>
                    <a:pt x="199" y="172"/>
                  </a:lnTo>
                  <a:lnTo>
                    <a:pt x="197" y="178"/>
                  </a:lnTo>
                  <a:lnTo>
                    <a:pt x="194" y="184"/>
                  </a:lnTo>
                  <a:lnTo>
                    <a:pt x="190" y="188"/>
                  </a:lnTo>
                  <a:lnTo>
                    <a:pt x="185" y="192"/>
                  </a:lnTo>
                  <a:lnTo>
                    <a:pt x="179" y="195"/>
                  </a:lnTo>
                  <a:lnTo>
                    <a:pt x="173" y="197"/>
                  </a:lnTo>
                  <a:lnTo>
                    <a:pt x="166" y="198"/>
                  </a:lnTo>
                  <a:lnTo>
                    <a:pt x="166" y="198"/>
                  </a:lnTo>
                  <a:close/>
                  <a:moveTo>
                    <a:pt x="67" y="132"/>
                  </a:moveTo>
                  <a:lnTo>
                    <a:pt x="133" y="132"/>
                  </a:lnTo>
                  <a:lnTo>
                    <a:pt x="133" y="66"/>
                  </a:lnTo>
                  <a:lnTo>
                    <a:pt x="67" y="66"/>
                  </a:lnTo>
                  <a:lnTo>
                    <a:pt x="6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9" name="Freeform 145">
              <a:extLst>
                <a:ext uri="{FF2B5EF4-FFF2-40B4-BE49-F238E27FC236}">
                  <a16:creationId xmlns:a16="http://schemas.microsoft.com/office/drawing/2014/main" id="{5640EFE5-73E9-4D34-843D-84ECE86F5A51}"/>
                </a:ext>
              </a:extLst>
            </p:cNvPr>
            <p:cNvSpPr>
              <a:spLocks noEditPoints="1"/>
            </p:cNvSpPr>
            <p:nvPr/>
          </p:nvSpPr>
          <p:spPr bwMode="auto">
            <a:xfrm>
              <a:off x="3517900"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4 w 199"/>
                <a:gd name="T11" fmla="*/ 192 h 198"/>
                <a:gd name="T12" fmla="*/ 10 w 199"/>
                <a:gd name="T13" fmla="*/ 188 h 198"/>
                <a:gd name="T14" fmla="*/ 6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6 w 199"/>
                <a:gd name="T31" fmla="*/ 14 h 198"/>
                <a:gd name="T32" fmla="*/ 10 w 199"/>
                <a:gd name="T33" fmla="*/ 9 h 198"/>
                <a:gd name="T34" fmla="*/ 14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4 w 199"/>
                <a:gd name="T51" fmla="*/ 5 h 198"/>
                <a:gd name="T52" fmla="*/ 189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89 w 199"/>
                <a:gd name="T73" fmla="*/ 188 h 198"/>
                <a:gd name="T74" fmla="*/ 184 w 199"/>
                <a:gd name="T75" fmla="*/ 192 h 198"/>
                <a:gd name="T76" fmla="*/ 179 w 199"/>
                <a:gd name="T77" fmla="*/ 195 h 198"/>
                <a:gd name="T78" fmla="*/ 173 w 199"/>
                <a:gd name="T79" fmla="*/ 197 h 198"/>
                <a:gd name="T80" fmla="*/ 166 w 199"/>
                <a:gd name="T81" fmla="*/ 198 h 198"/>
                <a:gd name="T82" fmla="*/ 166 w 199"/>
                <a:gd name="T83" fmla="*/ 198 h 198"/>
                <a:gd name="T84" fmla="*/ 66 w 199"/>
                <a:gd name="T85" fmla="*/ 132 h 198"/>
                <a:gd name="T86" fmla="*/ 132 w 199"/>
                <a:gd name="T87" fmla="*/ 132 h 198"/>
                <a:gd name="T88" fmla="*/ 132 w 199"/>
                <a:gd name="T89" fmla="*/ 66 h 198"/>
                <a:gd name="T90" fmla="*/ 66 w 199"/>
                <a:gd name="T91" fmla="*/ 66 h 198"/>
                <a:gd name="T92" fmla="*/ 66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4" y="192"/>
                  </a:lnTo>
                  <a:lnTo>
                    <a:pt x="10" y="188"/>
                  </a:lnTo>
                  <a:lnTo>
                    <a:pt x="6" y="184"/>
                  </a:lnTo>
                  <a:lnTo>
                    <a:pt x="3" y="178"/>
                  </a:lnTo>
                  <a:lnTo>
                    <a:pt x="1" y="172"/>
                  </a:lnTo>
                  <a:lnTo>
                    <a:pt x="0" y="165"/>
                  </a:lnTo>
                  <a:lnTo>
                    <a:pt x="0" y="33"/>
                  </a:lnTo>
                  <a:lnTo>
                    <a:pt x="0" y="33"/>
                  </a:lnTo>
                  <a:lnTo>
                    <a:pt x="1" y="26"/>
                  </a:lnTo>
                  <a:lnTo>
                    <a:pt x="3" y="19"/>
                  </a:lnTo>
                  <a:lnTo>
                    <a:pt x="6" y="14"/>
                  </a:lnTo>
                  <a:lnTo>
                    <a:pt x="10" y="9"/>
                  </a:lnTo>
                  <a:lnTo>
                    <a:pt x="14" y="5"/>
                  </a:lnTo>
                  <a:lnTo>
                    <a:pt x="21" y="2"/>
                  </a:lnTo>
                  <a:lnTo>
                    <a:pt x="27" y="0"/>
                  </a:lnTo>
                  <a:lnTo>
                    <a:pt x="33" y="0"/>
                  </a:lnTo>
                  <a:lnTo>
                    <a:pt x="166" y="0"/>
                  </a:lnTo>
                  <a:lnTo>
                    <a:pt x="166" y="0"/>
                  </a:lnTo>
                  <a:lnTo>
                    <a:pt x="173" y="0"/>
                  </a:lnTo>
                  <a:lnTo>
                    <a:pt x="179" y="2"/>
                  </a:lnTo>
                  <a:lnTo>
                    <a:pt x="184" y="5"/>
                  </a:lnTo>
                  <a:lnTo>
                    <a:pt x="189" y="9"/>
                  </a:lnTo>
                  <a:lnTo>
                    <a:pt x="194" y="14"/>
                  </a:lnTo>
                  <a:lnTo>
                    <a:pt x="197" y="19"/>
                  </a:lnTo>
                  <a:lnTo>
                    <a:pt x="199" y="26"/>
                  </a:lnTo>
                  <a:lnTo>
                    <a:pt x="199" y="33"/>
                  </a:lnTo>
                  <a:lnTo>
                    <a:pt x="199" y="165"/>
                  </a:lnTo>
                  <a:lnTo>
                    <a:pt x="199" y="165"/>
                  </a:lnTo>
                  <a:lnTo>
                    <a:pt x="199" y="172"/>
                  </a:lnTo>
                  <a:lnTo>
                    <a:pt x="197" y="178"/>
                  </a:lnTo>
                  <a:lnTo>
                    <a:pt x="194" y="184"/>
                  </a:lnTo>
                  <a:lnTo>
                    <a:pt x="189" y="188"/>
                  </a:lnTo>
                  <a:lnTo>
                    <a:pt x="184" y="192"/>
                  </a:lnTo>
                  <a:lnTo>
                    <a:pt x="179" y="195"/>
                  </a:lnTo>
                  <a:lnTo>
                    <a:pt x="173" y="197"/>
                  </a:lnTo>
                  <a:lnTo>
                    <a:pt x="166" y="198"/>
                  </a:lnTo>
                  <a:lnTo>
                    <a:pt x="166" y="198"/>
                  </a:lnTo>
                  <a:close/>
                  <a:moveTo>
                    <a:pt x="66" y="132"/>
                  </a:moveTo>
                  <a:lnTo>
                    <a:pt x="132" y="132"/>
                  </a:lnTo>
                  <a:lnTo>
                    <a:pt x="132" y="66"/>
                  </a:lnTo>
                  <a:lnTo>
                    <a:pt x="66" y="66"/>
                  </a:lnTo>
                  <a:lnTo>
                    <a:pt x="6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0" name="Freeform 146">
              <a:extLst>
                <a:ext uri="{FF2B5EF4-FFF2-40B4-BE49-F238E27FC236}">
                  <a16:creationId xmlns:a16="http://schemas.microsoft.com/office/drawing/2014/main" id="{29CE1C93-483B-497A-AFE7-C3B66DE45796}"/>
                </a:ext>
              </a:extLst>
            </p:cNvPr>
            <p:cNvSpPr>
              <a:spLocks noEditPoints="1"/>
            </p:cNvSpPr>
            <p:nvPr/>
          </p:nvSpPr>
          <p:spPr bwMode="auto">
            <a:xfrm>
              <a:off x="3413125"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5 w 199"/>
                <a:gd name="T11" fmla="*/ 194 h 199"/>
                <a:gd name="T12" fmla="*/ 11 w 199"/>
                <a:gd name="T13" fmla="*/ 190 h 199"/>
                <a:gd name="T14" fmla="*/ 7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7 w 199"/>
                <a:gd name="T31" fmla="*/ 15 h 199"/>
                <a:gd name="T32" fmla="*/ 11 w 199"/>
                <a:gd name="T33" fmla="*/ 11 h 199"/>
                <a:gd name="T34" fmla="*/ 15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5 w 199"/>
                <a:gd name="T51" fmla="*/ 7 h 199"/>
                <a:gd name="T52" fmla="*/ 190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90 w 199"/>
                <a:gd name="T73" fmla="*/ 190 h 199"/>
                <a:gd name="T74" fmla="*/ 185 w 199"/>
                <a:gd name="T75" fmla="*/ 194 h 199"/>
                <a:gd name="T76" fmla="*/ 179 w 199"/>
                <a:gd name="T77" fmla="*/ 197 h 199"/>
                <a:gd name="T78" fmla="*/ 173 w 199"/>
                <a:gd name="T79" fmla="*/ 199 h 199"/>
                <a:gd name="T80" fmla="*/ 166 w 199"/>
                <a:gd name="T81" fmla="*/ 199 h 199"/>
                <a:gd name="T82" fmla="*/ 166 w 199"/>
                <a:gd name="T83" fmla="*/ 199 h 199"/>
                <a:gd name="T84" fmla="*/ 67 w 199"/>
                <a:gd name="T85" fmla="*/ 133 h 199"/>
                <a:gd name="T86" fmla="*/ 133 w 199"/>
                <a:gd name="T87" fmla="*/ 133 h 199"/>
                <a:gd name="T88" fmla="*/ 133 w 199"/>
                <a:gd name="T89" fmla="*/ 67 h 199"/>
                <a:gd name="T90" fmla="*/ 67 w 199"/>
                <a:gd name="T91" fmla="*/ 67 h 199"/>
                <a:gd name="T92" fmla="*/ 67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5" y="194"/>
                  </a:lnTo>
                  <a:lnTo>
                    <a:pt x="11" y="190"/>
                  </a:lnTo>
                  <a:lnTo>
                    <a:pt x="7" y="185"/>
                  </a:lnTo>
                  <a:lnTo>
                    <a:pt x="3" y="179"/>
                  </a:lnTo>
                  <a:lnTo>
                    <a:pt x="1" y="173"/>
                  </a:lnTo>
                  <a:lnTo>
                    <a:pt x="0" y="166"/>
                  </a:lnTo>
                  <a:lnTo>
                    <a:pt x="0" y="33"/>
                  </a:lnTo>
                  <a:lnTo>
                    <a:pt x="0" y="33"/>
                  </a:lnTo>
                  <a:lnTo>
                    <a:pt x="1" y="27"/>
                  </a:lnTo>
                  <a:lnTo>
                    <a:pt x="3" y="21"/>
                  </a:lnTo>
                  <a:lnTo>
                    <a:pt x="7" y="15"/>
                  </a:lnTo>
                  <a:lnTo>
                    <a:pt x="11" y="11"/>
                  </a:lnTo>
                  <a:lnTo>
                    <a:pt x="15" y="7"/>
                  </a:lnTo>
                  <a:lnTo>
                    <a:pt x="21" y="3"/>
                  </a:lnTo>
                  <a:lnTo>
                    <a:pt x="27" y="1"/>
                  </a:lnTo>
                  <a:lnTo>
                    <a:pt x="33" y="0"/>
                  </a:lnTo>
                  <a:lnTo>
                    <a:pt x="166" y="0"/>
                  </a:lnTo>
                  <a:lnTo>
                    <a:pt x="166" y="0"/>
                  </a:lnTo>
                  <a:lnTo>
                    <a:pt x="173" y="1"/>
                  </a:lnTo>
                  <a:lnTo>
                    <a:pt x="179" y="3"/>
                  </a:lnTo>
                  <a:lnTo>
                    <a:pt x="185" y="7"/>
                  </a:lnTo>
                  <a:lnTo>
                    <a:pt x="190" y="11"/>
                  </a:lnTo>
                  <a:lnTo>
                    <a:pt x="194" y="15"/>
                  </a:lnTo>
                  <a:lnTo>
                    <a:pt x="197" y="21"/>
                  </a:lnTo>
                  <a:lnTo>
                    <a:pt x="199" y="27"/>
                  </a:lnTo>
                  <a:lnTo>
                    <a:pt x="199" y="33"/>
                  </a:lnTo>
                  <a:lnTo>
                    <a:pt x="199" y="166"/>
                  </a:lnTo>
                  <a:lnTo>
                    <a:pt x="199" y="166"/>
                  </a:lnTo>
                  <a:lnTo>
                    <a:pt x="199" y="173"/>
                  </a:lnTo>
                  <a:lnTo>
                    <a:pt x="197" y="179"/>
                  </a:lnTo>
                  <a:lnTo>
                    <a:pt x="194" y="185"/>
                  </a:lnTo>
                  <a:lnTo>
                    <a:pt x="190" y="190"/>
                  </a:lnTo>
                  <a:lnTo>
                    <a:pt x="185" y="194"/>
                  </a:lnTo>
                  <a:lnTo>
                    <a:pt x="179" y="197"/>
                  </a:lnTo>
                  <a:lnTo>
                    <a:pt x="173" y="199"/>
                  </a:lnTo>
                  <a:lnTo>
                    <a:pt x="166" y="199"/>
                  </a:lnTo>
                  <a:lnTo>
                    <a:pt x="166" y="199"/>
                  </a:lnTo>
                  <a:close/>
                  <a:moveTo>
                    <a:pt x="67" y="133"/>
                  </a:moveTo>
                  <a:lnTo>
                    <a:pt x="133" y="133"/>
                  </a:lnTo>
                  <a:lnTo>
                    <a:pt x="133" y="67"/>
                  </a:lnTo>
                  <a:lnTo>
                    <a:pt x="67" y="67"/>
                  </a:lnTo>
                  <a:lnTo>
                    <a:pt x="6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1" name="Freeform 147">
              <a:extLst>
                <a:ext uri="{FF2B5EF4-FFF2-40B4-BE49-F238E27FC236}">
                  <a16:creationId xmlns:a16="http://schemas.microsoft.com/office/drawing/2014/main" id="{8AB539A7-A051-4952-9E61-C569AC4EBC3D}"/>
                </a:ext>
              </a:extLst>
            </p:cNvPr>
            <p:cNvSpPr>
              <a:spLocks noEditPoints="1"/>
            </p:cNvSpPr>
            <p:nvPr/>
          </p:nvSpPr>
          <p:spPr bwMode="auto">
            <a:xfrm>
              <a:off x="3517900"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4 w 199"/>
                <a:gd name="T11" fmla="*/ 194 h 199"/>
                <a:gd name="T12" fmla="*/ 10 w 199"/>
                <a:gd name="T13" fmla="*/ 190 h 199"/>
                <a:gd name="T14" fmla="*/ 6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6 w 199"/>
                <a:gd name="T31" fmla="*/ 15 h 199"/>
                <a:gd name="T32" fmla="*/ 10 w 199"/>
                <a:gd name="T33" fmla="*/ 11 h 199"/>
                <a:gd name="T34" fmla="*/ 14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4 w 199"/>
                <a:gd name="T51" fmla="*/ 7 h 199"/>
                <a:gd name="T52" fmla="*/ 189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89 w 199"/>
                <a:gd name="T73" fmla="*/ 190 h 199"/>
                <a:gd name="T74" fmla="*/ 184 w 199"/>
                <a:gd name="T75" fmla="*/ 194 h 199"/>
                <a:gd name="T76" fmla="*/ 179 w 199"/>
                <a:gd name="T77" fmla="*/ 197 h 199"/>
                <a:gd name="T78" fmla="*/ 173 w 199"/>
                <a:gd name="T79" fmla="*/ 199 h 199"/>
                <a:gd name="T80" fmla="*/ 166 w 199"/>
                <a:gd name="T81" fmla="*/ 199 h 199"/>
                <a:gd name="T82" fmla="*/ 166 w 199"/>
                <a:gd name="T83" fmla="*/ 199 h 199"/>
                <a:gd name="T84" fmla="*/ 66 w 199"/>
                <a:gd name="T85" fmla="*/ 133 h 199"/>
                <a:gd name="T86" fmla="*/ 132 w 199"/>
                <a:gd name="T87" fmla="*/ 133 h 199"/>
                <a:gd name="T88" fmla="*/ 132 w 199"/>
                <a:gd name="T89" fmla="*/ 67 h 199"/>
                <a:gd name="T90" fmla="*/ 66 w 199"/>
                <a:gd name="T91" fmla="*/ 67 h 199"/>
                <a:gd name="T92" fmla="*/ 66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4" y="194"/>
                  </a:lnTo>
                  <a:lnTo>
                    <a:pt x="10" y="190"/>
                  </a:lnTo>
                  <a:lnTo>
                    <a:pt x="6" y="185"/>
                  </a:lnTo>
                  <a:lnTo>
                    <a:pt x="3" y="179"/>
                  </a:lnTo>
                  <a:lnTo>
                    <a:pt x="1" y="173"/>
                  </a:lnTo>
                  <a:lnTo>
                    <a:pt x="0" y="166"/>
                  </a:lnTo>
                  <a:lnTo>
                    <a:pt x="0" y="33"/>
                  </a:lnTo>
                  <a:lnTo>
                    <a:pt x="0" y="33"/>
                  </a:lnTo>
                  <a:lnTo>
                    <a:pt x="1" y="27"/>
                  </a:lnTo>
                  <a:lnTo>
                    <a:pt x="3" y="21"/>
                  </a:lnTo>
                  <a:lnTo>
                    <a:pt x="6" y="15"/>
                  </a:lnTo>
                  <a:lnTo>
                    <a:pt x="10" y="11"/>
                  </a:lnTo>
                  <a:lnTo>
                    <a:pt x="14" y="7"/>
                  </a:lnTo>
                  <a:lnTo>
                    <a:pt x="21" y="3"/>
                  </a:lnTo>
                  <a:lnTo>
                    <a:pt x="27" y="1"/>
                  </a:lnTo>
                  <a:lnTo>
                    <a:pt x="33" y="0"/>
                  </a:lnTo>
                  <a:lnTo>
                    <a:pt x="166" y="0"/>
                  </a:lnTo>
                  <a:lnTo>
                    <a:pt x="166" y="0"/>
                  </a:lnTo>
                  <a:lnTo>
                    <a:pt x="173" y="1"/>
                  </a:lnTo>
                  <a:lnTo>
                    <a:pt x="179" y="3"/>
                  </a:lnTo>
                  <a:lnTo>
                    <a:pt x="184" y="7"/>
                  </a:lnTo>
                  <a:lnTo>
                    <a:pt x="189" y="11"/>
                  </a:lnTo>
                  <a:lnTo>
                    <a:pt x="194" y="15"/>
                  </a:lnTo>
                  <a:lnTo>
                    <a:pt x="197" y="21"/>
                  </a:lnTo>
                  <a:lnTo>
                    <a:pt x="199" y="27"/>
                  </a:lnTo>
                  <a:lnTo>
                    <a:pt x="199" y="33"/>
                  </a:lnTo>
                  <a:lnTo>
                    <a:pt x="199" y="166"/>
                  </a:lnTo>
                  <a:lnTo>
                    <a:pt x="199" y="166"/>
                  </a:lnTo>
                  <a:lnTo>
                    <a:pt x="199" y="173"/>
                  </a:lnTo>
                  <a:lnTo>
                    <a:pt x="197" y="179"/>
                  </a:lnTo>
                  <a:lnTo>
                    <a:pt x="194" y="185"/>
                  </a:lnTo>
                  <a:lnTo>
                    <a:pt x="189" y="190"/>
                  </a:lnTo>
                  <a:lnTo>
                    <a:pt x="184" y="194"/>
                  </a:lnTo>
                  <a:lnTo>
                    <a:pt x="179" y="197"/>
                  </a:lnTo>
                  <a:lnTo>
                    <a:pt x="173" y="199"/>
                  </a:lnTo>
                  <a:lnTo>
                    <a:pt x="166" y="199"/>
                  </a:lnTo>
                  <a:lnTo>
                    <a:pt x="166" y="199"/>
                  </a:lnTo>
                  <a:close/>
                  <a:moveTo>
                    <a:pt x="66" y="133"/>
                  </a:moveTo>
                  <a:lnTo>
                    <a:pt x="132" y="133"/>
                  </a:lnTo>
                  <a:lnTo>
                    <a:pt x="132"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2" name="Freeform 148">
              <a:extLst>
                <a:ext uri="{FF2B5EF4-FFF2-40B4-BE49-F238E27FC236}">
                  <a16:creationId xmlns:a16="http://schemas.microsoft.com/office/drawing/2014/main" id="{9216A9C4-17A0-4C17-90A4-96F66699D940}"/>
                </a:ext>
              </a:extLst>
            </p:cNvPr>
            <p:cNvSpPr>
              <a:spLocks noEditPoints="1"/>
            </p:cNvSpPr>
            <p:nvPr/>
          </p:nvSpPr>
          <p:spPr bwMode="auto">
            <a:xfrm>
              <a:off x="3592513" y="3324226"/>
              <a:ext cx="150813" cy="149225"/>
            </a:xfrm>
            <a:custGeom>
              <a:avLst/>
              <a:gdLst>
                <a:gd name="T0" fmla="*/ 232 w 664"/>
                <a:gd name="T1" fmla="*/ 663 h 663"/>
                <a:gd name="T2" fmla="*/ 214 w 664"/>
                <a:gd name="T3" fmla="*/ 657 h 663"/>
                <a:gd name="T4" fmla="*/ 202 w 664"/>
                <a:gd name="T5" fmla="*/ 642 h 663"/>
                <a:gd name="T6" fmla="*/ 199 w 664"/>
                <a:gd name="T7" fmla="*/ 465 h 663"/>
                <a:gd name="T8" fmla="*/ 27 w 664"/>
                <a:gd name="T9" fmla="*/ 463 h 663"/>
                <a:gd name="T10" fmla="*/ 11 w 664"/>
                <a:gd name="T11" fmla="*/ 454 h 663"/>
                <a:gd name="T12" fmla="*/ 1 w 664"/>
                <a:gd name="T13" fmla="*/ 438 h 663"/>
                <a:gd name="T14" fmla="*/ 0 w 664"/>
                <a:gd name="T15" fmla="*/ 232 h 663"/>
                <a:gd name="T16" fmla="*/ 6 w 664"/>
                <a:gd name="T17" fmla="*/ 214 h 663"/>
                <a:gd name="T18" fmla="*/ 21 w 664"/>
                <a:gd name="T19" fmla="*/ 202 h 663"/>
                <a:gd name="T20" fmla="*/ 199 w 664"/>
                <a:gd name="T21" fmla="*/ 199 h 663"/>
                <a:gd name="T22" fmla="*/ 200 w 664"/>
                <a:gd name="T23" fmla="*/ 27 h 663"/>
                <a:gd name="T24" fmla="*/ 209 w 664"/>
                <a:gd name="T25" fmla="*/ 10 h 663"/>
                <a:gd name="T26" fmla="*/ 226 w 664"/>
                <a:gd name="T27" fmla="*/ 1 h 663"/>
                <a:gd name="T28" fmla="*/ 432 w 664"/>
                <a:gd name="T29" fmla="*/ 0 h 663"/>
                <a:gd name="T30" fmla="*/ 449 w 664"/>
                <a:gd name="T31" fmla="*/ 6 h 663"/>
                <a:gd name="T32" fmla="*/ 462 w 664"/>
                <a:gd name="T33" fmla="*/ 21 h 663"/>
                <a:gd name="T34" fmla="*/ 465 w 664"/>
                <a:gd name="T35" fmla="*/ 199 h 663"/>
                <a:gd name="T36" fmla="*/ 637 w 664"/>
                <a:gd name="T37" fmla="*/ 200 h 663"/>
                <a:gd name="T38" fmla="*/ 653 w 664"/>
                <a:gd name="T39" fmla="*/ 209 h 663"/>
                <a:gd name="T40" fmla="*/ 662 w 664"/>
                <a:gd name="T41" fmla="*/ 226 h 663"/>
                <a:gd name="T42" fmla="*/ 664 w 664"/>
                <a:gd name="T43" fmla="*/ 431 h 663"/>
                <a:gd name="T44" fmla="*/ 657 w 664"/>
                <a:gd name="T45" fmla="*/ 449 h 663"/>
                <a:gd name="T46" fmla="*/ 643 w 664"/>
                <a:gd name="T47" fmla="*/ 461 h 663"/>
                <a:gd name="T48" fmla="*/ 465 w 664"/>
                <a:gd name="T49" fmla="*/ 465 h 663"/>
                <a:gd name="T50" fmla="*/ 464 w 664"/>
                <a:gd name="T51" fmla="*/ 636 h 663"/>
                <a:gd name="T52" fmla="*/ 454 w 664"/>
                <a:gd name="T53" fmla="*/ 653 h 663"/>
                <a:gd name="T54" fmla="*/ 438 w 664"/>
                <a:gd name="T55" fmla="*/ 662 h 663"/>
                <a:gd name="T56" fmla="*/ 265 w 664"/>
                <a:gd name="T57" fmla="*/ 597 h 663"/>
                <a:gd name="T58" fmla="*/ 398 w 664"/>
                <a:gd name="T59" fmla="*/ 431 h 663"/>
                <a:gd name="T60" fmla="*/ 404 w 664"/>
                <a:gd name="T61" fmla="*/ 413 h 663"/>
                <a:gd name="T62" fmla="*/ 418 w 664"/>
                <a:gd name="T63" fmla="*/ 400 h 663"/>
                <a:gd name="T64" fmla="*/ 597 w 664"/>
                <a:gd name="T65" fmla="*/ 398 h 663"/>
                <a:gd name="T66" fmla="*/ 432 w 664"/>
                <a:gd name="T67" fmla="*/ 265 h 663"/>
                <a:gd name="T68" fmla="*/ 413 w 664"/>
                <a:gd name="T69" fmla="*/ 260 h 663"/>
                <a:gd name="T70" fmla="*/ 401 w 664"/>
                <a:gd name="T71" fmla="*/ 245 h 663"/>
                <a:gd name="T72" fmla="*/ 398 w 664"/>
                <a:gd name="T73" fmla="*/ 66 h 663"/>
                <a:gd name="T74" fmla="*/ 265 w 664"/>
                <a:gd name="T75" fmla="*/ 232 h 663"/>
                <a:gd name="T76" fmla="*/ 260 w 664"/>
                <a:gd name="T77" fmla="*/ 250 h 663"/>
                <a:gd name="T78" fmla="*/ 245 w 664"/>
                <a:gd name="T79" fmla="*/ 263 h 663"/>
                <a:gd name="T80" fmla="*/ 66 w 664"/>
                <a:gd name="T81" fmla="*/ 265 h 663"/>
                <a:gd name="T82" fmla="*/ 232 w 664"/>
                <a:gd name="T83" fmla="*/ 398 h 663"/>
                <a:gd name="T84" fmla="*/ 251 w 664"/>
                <a:gd name="T85" fmla="*/ 403 h 663"/>
                <a:gd name="T86" fmla="*/ 263 w 664"/>
                <a:gd name="T87" fmla="*/ 418 h 663"/>
                <a:gd name="T88" fmla="*/ 265 w 664"/>
                <a:gd name="T89" fmla="*/ 5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663">
                  <a:moveTo>
                    <a:pt x="432" y="663"/>
                  </a:moveTo>
                  <a:lnTo>
                    <a:pt x="232" y="663"/>
                  </a:lnTo>
                  <a:lnTo>
                    <a:pt x="232" y="663"/>
                  </a:lnTo>
                  <a:lnTo>
                    <a:pt x="226" y="662"/>
                  </a:lnTo>
                  <a:lnTo>
                    <a:pt x="220" y="660"/>
                  </a:lnTo>
                  <a:lnTo>
                    <a:pt x="214" y="657"/>
                  </a:lnTo>
                  <a:lnTo>
                    <a:pt x="209" y="653"/>
                  </a:lnTo>
                  <a:lnTo>
                    <a:pt x="205" y="649"/>
                  </a:lnTo>
                  <a:lnTo>
                    <a:pt x="202" y="642"/>
                  </a:lnTo>
                  <a:lnTo>
                    <a:pt x="200" y="636"/>
                  </a:lnTo>
                  <a:lnTo>
                    <a:pt x="199" y="630"/>
                  </a:lnTo>
                  <a:lnTo>
                    <a:pt x="199" y="465"/>
                  </a:lnTo>
                  <a:lnTo>
                    <a:pt x="33" y="465"/>
                  </a:lnTo>
                  <a:lnTo>
                    <a:pt x="33" y="465"/>
                  </a:lnTo>
                  <a:lnTo>
                    <a:pt x="27" y="463"/>
                  </a:lnTo>
                  <a:lnTo>
                    <a:pt x="21" y="461"/>
                  </a:lnTo>
                  <a:lnTo>
                    <a:pt x="15" y="458"/>
                  </a:lnTo>
                  <a:lnTo>
                    <a:pt x="11" y="454"/>
                  </a:lnTo>
                  <a:lnTo>
                    <a:pt x="6" y="449"/>
                  </a:lnTo>
                  <a:lnTo>
                    <a:pt x="3" y="444"/>
                  </a:lnTo>
                  <a:lnTo>
                    <a:pt x="1" y="438"/>
                  </a:lnTo>
                  <a:lnTo>
                    <a:pt x="0" y="431"/>
                  </a:lnTo>
                  <a:lnTo>
                    <a:pt x="0" y="232"/>
                  </a:lnTo>
                  <a:lnTo>
                    <a:pt x="0" y="232"/>
                  </a:lnTo>
                  <a:lnTo>
                    <a:pt x="1" y="226"/>
                  </a:lnTo>
                  <a:lnTo>
                    <a:pt x="3" y="219"/>
                  </a:lnTo>
                  <a:lnTo>
                    <a:pt x="6" y="214"/>
                  </a:lnTo>
                  <a:lnTo>
                    <a:pt x="11" y="209"/>
                  </a:lnTo>
                  <a:lnTo>
                    <a:pt x="15" y="205"/>
                  </a:lnTo>
                  <a:lnTo>
                    <a:pt x="21" y="202"/>
                  </a:lnTo>
                  <a:lnTo>
                    <a:pt x="27" y="200"/>
                  </a:lnTo>
                  <a:lnTo>
                    <a:pt x="33" y="199"/>
                  </a:lnTo>
                  <a:lnTo>
                    <a:pt x="199" y="199"/>
                  </a:lnTo>
                  <a:lnTo>
                    <a:pt x="199" y="33"/>
                  </a:lnTo>
                  <a:lnTo>
                    <a:pt x="199" y="33"/>
                  </a:lnTo>
                  <a:lnTo>
                    <a:pt x="200" y="27"/>
                  </a:lnTo>
                  <a:lnTo>
                    <a:pt x="202" y="21"/>
                  </a:lnTo>
                  <a:lnTo>
                    <a:pt x="205" y="16"/>
                  </a:lnTo>
                  <a:lnTo>
                    <a:pt x="209" y="10"/>
                  </a:lnTo>
                  <a:lnTo>
                    <a:pt x="214" y="6"/>
                  </a:lnTo>
                  <a:lnTo>
                    <a:pt x="220" y="3"/>
                  </a:lnTo>
                  <a:lnTo>
                    <a:pt x="226" y="1"/>
                  </a:lnTo>
                  <a:lnTo>
                    <a:pt x="232" y="0"/>
                  </a:lnTo>
                  <a:lnTo>
                    <a:pt x="432" y="0"/>
                  </a:lnTo>
                  <a:lnTo>
                    <a:pt x="432" y="0"/>
                  </a:lnTo>
                  <a:lnTo>
                    <a:pt x="438" y="1"/>
                  </a:lnTo>
                  <a:lnTo>
                    <a:pt x="444" y="3"/>
                  </a:lnTo>
                  <a:lnTo>
                    <a:pt x="449" y="6"/>
                  </a:lnTo>
                  <a:lnTo>
                    <a:pt x="454" y="10"/>
                  </a:lnTo>
                  <a:lnTo>
                    <a:pt x="459" y="16"/>
                  </a:lnTo>
                  <a:lnTo>
                    <a:pt x="462" y="21"/>
                  </a:lnTo>
                  <a:lnTo>
                    <a:pt x="464" y="27"/>
                  </a:lnTo>
                  <a:lnTo>
                    <a:pt x="465" y="33"/>
                  </a:lnTo>
                  <a:lnTo>
                    <a:pt x="465" y="199"/>
                  </a:lnTo>
                  <a:lnTo>
                    <a:pt x="630" y="199"/>
                  </a:lnTo>
                  <a:lnTo>
                    <a:pt x="630" y="199"/>
                  </a:lnTo>
                  <a:lnTo>
                    <a:pt x="637" y="200"/>
                  </a:lnTo>
                  <a:lnTo>
                    <a:pt x="643" y="202"/>
                  </a:lnTo>
                  <a:lnTo>
                    <a:pt x="648" y="205"/>
                  </a:lnTo>
                  <a:lnTo>
                    <a:pt x="653" y="209"/>
                  </a:lnTo>
                  <a:lnTo>
                    <a:pt x="657" y="214"/>
                  </a:lnTo>
                  <a:lnTo>
                    <a:pt x="660" y="219"/>
                  </a:lnTo>
                  <a:lnTo>
                    <a:pt x="662" y="226"/>
                  </a:lnTo>
                  <a:lnTo>
                    <a:pt x="664" y="232"/>
                  </a:lnTo>
                  <a:lnTo>
                    <a:pt x="664" y="431"/>
                  </a:lnTo>
                  <a:lnTo>
                    <a:pt x="664" y="431"/>
                  </a:lnTo>
                  <a:lnTo>
                    <a:pt x="662" y="438"/>
                  </a:lnTo>
                  <a:lnTo>
                    <a:pt x="660" y="444"/>
                  </a:lnTo>
                  <a:lnTo>
                    <a:pt x="657" y="449"/>
                  </a:lnTo>
                  <a:lnTo>
                    <a:pt x="653" y="454"/>
                  </a:lnTo>
                  <a:lnTo>
                    <a:pt x="648" y="458"/>
                  </a:lnTo>
                  <a:lnTo>
                    <a:pt x="643" y="461"/>
                  </a:lnTo>
                  <a:lnTo>
                    <a:pt x="637" y="463"/>
                  </a:lnTo>
                  <a:lnTo>
                    <a:pt x="630" y="465"/>
                  </a:lnTo>
                  <a:lnTo>
                    <a:pt x="465" y="465"/>
                  </a:lnTo>
                  <a:lnTo>
                    <a:pt x="465" y="630"/>
                  </a:lnTo>
                  <a:lnTo>
                    <a:pt x="465" y="630"/>
                  </a:lnTo>
                  <a:lnTo>
                    <a:pt x="464" y="636"/>
                  </a:lnTo>
                  <a:lnTo>
                    <a:pt x="462" y="642"/>
                  </a:lnTo>
                  <a:lnTo>
                    <a:pt x="459" y="649"/>
                  </a:lnTo>
                  <a:lnTo>
                    <a:pt x="454" y="653"/>
                  </a:lnTo>
                  <a:lnTo>
                    <a:pt x="449" y="657"/>
                  </a:lnTo>
                  <a:lnTo>
                    <a:pt x="444" y="660"/>
                  </a:lnTo>
                  <a:lnTo>
                    <a:pt x="438" y="662"/>
                  </a:lnTo>
                  <a:lnTo>
                    <a:pt x="432" y="663"/>
                  </a:lnTo>
                  <a:lnTo>
                    <a:pt x="432" y="663"/>
                  </a:lnTo>
                  <a:close/>
                  <a:moveTo>
                    <a:pt x="265" y="597"/>
                  </a:moveTo>
                  <a:lnTo>
                    <a:pt x="398" y="597"/>
                  </a:lnTo>
                  <a:lnTo>
                    <a:pt x="398" y="431"/>
                  </a:lnTo>
                  <a:lnTo>
                    <a:pt x="398" y="431"/>
                  </a:lnTo>
                  <a:lnTo>
                    <a:pt x="399" y="424"/>
                  </a:lnTo>
                  <a:lnTo>
                    <a:pt x="401" y="418"/>
                  </a:lnTo>
                  <a:lnTo>
                    <a:pt x="404" y="413"/>
                  </a:lnTo>
                  <a:lnTo>
                    <a:pt x="408" y="408"/>
                  </a:lnTo>
                  <a:lnTo>
                    <a:pt x="413" y="403"/>
                  </a:lnTo>
                  <a:lnTo>
                    <a:pt x="418" y="400"/>
                  </a:lnTo>
                  <a:lnTo>
                    <a:pt x="424" y="398"/>
                  </a:lnTo>
                  <a:lnTo>
                    <a:pt x="432" y="398"/>
                  </a:lnTo>
                  <a:lnTo>
                    <a:pt x="597" y="398"/>
                  </a:lnTo>
                  <a:lnTo>
                    <a:pt x="597" y="265"/>
                  </a:lnTo>
                  <a:lnTo>
                    <a:pt x="432" y="265"/>
                  </a:lnTo>
                  <a:lnTo>
                    <a:pt x="432" y="265"/>
                  </a:lnTo>
                  <a:lnTo>
                    <a:pt x="424" y="265"/>
                  </a:lnTo>
                  <a:lnTo>
                    <a:pt x="418" y="263"/>
                  </a:lnTo>
                  <a:lnTo>
                    <a:pt x="413" y="260"/>
                  </a:lnTo>
                  <a:lnTo>
                    <a:pt x="408" y="256"/>
                  </a:lnTo>
                  <a:lnTo>
                    <a:pt x="404" y="250"/>
                  </a:lnTo>
                  <a:lnTo>
                    <a:pt x="401" y="245"/>
                  </a:lnTo>
                  <a:lnTo>
                    <a:pt x="399" y="239"/>
                  </a:lnTo>
                  <a:lnTo>
                    <a:pt x="398" y="232"/>
                  </a:lnTo>
                  <a:lnTo>
                    <a:pt x="398" y="66"/>
                  </a:lnTo>
                  <a:lnTo>
                    <a:pt x="265" y="66"/>
                  </a:lnTo>
                  <a:lnTo>
                    <a:pt x="265" y="232"/>
                  </a:lnTo>
                  <a:lnTo>
                    <a:pt x="265" y="232"/>
                  </a:lnTo>
                  <a:lnTo>
                    <a:pt x="265" y="239"/>
                  </a:lnTo>
                  <a:lnTo>
                    <a:pt x="263" y="245"/>
                  </a:lnTo>
                  <a:lnTo>
                    <a:pt x="260" y="250"/>
                  </a:lnTo>
                  <a:lnTo>
                    <a:pt x="256" y="256"/>
                  </a:lnTo>
                  <a:lnTo>
                    <a:pt x="251" y="260"/>
                  </a:lnTo>
                  <a:lnTo>
                    <a:pt x="245" y="263"/>
                  </a:lnTo>
                  <a:lnTo>
                    <a:pt x="239" y="265"/>
                  </a:lnTo>
                  <a:lnTo>
                    <a:pt x="232" y="265"/>
                  </a:lnTo>
                  <a:lnTo>
                    <a:pt x="66" y="265"/>
                  </a:lnTo>
                  <a:lnTo>
                    <a:pt x="66" y="398"/>
                  </a:lnTo>
                  <a:lnTo>
                    <a:pt x="232" y="398"/>
                  </a:lnTo>
                  <a:lnTo>
                    <a:pt x="232" y="398"/>
                  </a:lnTo>
                  <a:lnTo>
                    <a:pt x="239" y="398"/>
                  </a:lnTo>
                  <a:lnTo>
                    <a:pt x="245" y="400"/>
                  </a:lnTo>
                  <a:lnTo>
                    <a:pt x="251" y="403"/>
                  </a:lnTo>
                  <a:lnTo>
                    <a:pt x="256" y="408"/>
                  </a:lnTo>
                  <a:lnTo>
                    <a:pt x="260" y="413"/>
                  </a:lnTo>
                  <a:lnTo>
                    <a:pt x="263" y="418"/>
                  </a:lnTo>
                  <a:lnTo>
                    <a:pt x="265" y="424"/>
                  </a:lnTo>
                  <a:lnTo>
                    <a:pt x="265" y="431"/>
                  </a:lnTo>
                  <a:lnTo>
                    <a:pt x="265" y="5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44" name="Group 43">
            <a:extLst>
              <a:ext uri="{FF2B5EF4-FFF2-40B4-BE49-F238E27FC236}">
                <a16:creationId xmlns:a16="http://schemas.microsoft.com/office/drawing/2014/main" id="{A87401CC-E62D-42D2-AF50-3936185FC328}"/>
              </a:ext>
            </a:extLst>
          </p:cNvPr>
          <p:cNvGrpSpPr/>
          <p:nvPr/>
        </p:nvGrpSpPr>
        <p:grpSpPr>
          <a:xfrm>
            <a:off x="1604545" y="3252251"/>
            <a:ext cx="744687" cy="939134"/>
            <a:chOff x="4870450" y="2557463"/>
            <a:chExt cx="285750" cy="360363"/>
          </a:xfrm>
          <a:solidFill>
            <a:schemeClr val="bg1"/>
          </a:solidFill>
        </p:grpSpPr>
        <p:sp>
          <p:nvSpPr>
            <p:cNvPr id="45" name="Freeform 194">
              <a:extLst>
                <a:ext uri="{FF2B5EF4-FFF2-40B4-BE49-F238E27FC236}">
                  <a16:creationId xmlns:a16="http://schemas.microsoft.com/office/drawing/2014/main" id="{511421F4-C122-4096-BDCA-096F6FBB76A1}"/>
                </a:ext>
              </a:extLst>
            </p:cNvPr>
            <p:cNvSpPr>
              <a:spLocks/>
            </p:cNvSpPr>
            <p:nvPr/>
          </p:nvSpPr>
          <p:spPr bwMode="auto">
            <a:xfrm>
              <a:off x="4870450" y="2587626"/>
              <a:ext cx="285750" cy="330200"/>
            </a:xfrm>
            <a:custGeom>
              <a:avLst/>
              <a:gdLst>
                <a:gd name="T0" fmla="*/ 33 w 1258"/>
                <a:gd name="T1" fmla="*/ 1457 h 1457"/>
                <a:gd name="T2" fmla="*/ 27 w 1258"/>
                <a:gd name="T3" fmla="*/ 1456 h 1457"/>
                <a:gd name="T4" fmla="*/ 14 w 1258"/>
                <a:gd name="T5" fmla="*/ 1451 h 1457"/>
                <a:gd name="T6" fmla="*/ 5 w 1258"/>
                <a:gd name="T7" fmla="*/ 1443 h 1457"/>
                <a:gd name="T8" fmla="*/ 1 w 1258"/>
                <a:gd name="T9" fmla="*/ 1430 h 1457"/>
                <a:gd name="T10" fmla="*/ 0 w 1258"/>
                <a:gd name="T11" fmla="*/ 33 h 1457"/>
                <a:gd name="T12" fmla="*/ 1 w 1258"/>
                <a:gd name="T13" fmla="*/ 27 h 1457"/>
                <a:gd name="T14" fmla="*/ 5 w 1258"/>
                <a:gd name="T15" fmla="*/ 15 h 1457"/>
                <a:gd name="T16" fmla="*/ 14 w 1258"/>
                <a:gd name="T17" fmla="*/ 6 h 1457"/>
                <a:gd name="T18" fmla="*/ 27 w 1258"/>
                <a:gd name="T19" fmla="*/ 1 h 1457"/>
                <a:gd name="T20" fmla="*/ 165 w 1258"/>
                <a:gd name="T21" fmla="*/ 0 h 1457"/>
                <a:gd name="T22" fmla="*/ 173 w 1258"/>
                <a:gd name="T23" fmla="*/ 1 h 1457"/>
                <a:gd name="T24" fmla="*/ 184 w 1258"/>
                <a:gd name="T25" fmla="*/ 6 h 1457"/>
                <a:gd name="T26" fmla="*/ 193 w 1258"/>
                <a:gd name="T27" fmla="*/ 15 h 1457"/>
                <a:gd name="T28" fmla="*/ 198 w 1258"/>
                <a:gd name="T29" fmla="*/ 27 h 1457"/>
                <a:gd name="T30" fmla="*/ 199 w 1258"/>
                <a:gd name="T31" fmla="*/ 33 h 1457"/>
                <a:gd name="T32" fmla="*/ 197 w 1258"/>
                <a:gd name="T33" fmla="*/ 46 h 1457"/>
                <a:gd name="T34" fmla="*/ 189 w 1258"/>
                <a:gd name="T35" fmla="*/ 57 h 1457"/>
                <a:gd name="T36" fmla="*/ 179 w 1258"/>
                <a:gd name="T37" fmla="*/ 64 h 1457"/>
                <a:gd name="T38" fmla="*/ 165 w 1258"/>
                <a:gd name="T39" fmla="*/ 66 h 1457"/>
                <a:gd name="T40" fmla="*/ 66 w 1258"/>
                <a:gd name="T41" fmla="*/ 1391 h 1457"/>
                <a:gd name="T42" fmla="*/ 1192 w 1258"/>
                <a:gd name="T43" fmla="*/ 66 h 1457"/>
                <a:gd name="T44" fmla="*/ 1093 w 1258"/>
                <a:gd name="T45" fmla="*/ 66 h 1457"/>
                <a:gd name="T46" fmla="*/ 1080 w 1258"/>
                <a:gd name="T47" fmla="*/ 64 h 1457"/>
                <a:gd name="T48" fmla="*/ 1070 w 1258"/>
                <a:gd name="T49" fmla="*/ 57 h 1457"/>
                <a:gd name="T50" fmla="*/ 1063 w 1258"/>
                <a:gd name="T51" fmla="*/ 46 h 1457"/>
                <a:gd name="T52" fmla="*/ 1060 w 1258"/>
                <a:gd name="T53" fmla="*/ 33 h 1457"/>
                <a:gd name="T54" fmla="*/ 1061 w 1258"/>
                <a:gd name="T55" fmla="*/ 27 h 1457"/>
                <a:gd name="T56" fmla="*/ 1066 w 1258"/>
                <a:gd name="T57" fmla="*/ 15 h 1457"/>
                <a:gd name="T58" fmla="*/ 1074 w 1258"/>
                <a:gd name="T59" fmla="*/ 6 h 1457"/>
                <a:gd name="T60" fmla="*/ 1087 w 1258"/>
                <a:gd name="T61" fmla="*/ 1 h 1457"/>
                <a:gd name="T62" fmla="*/ 1225 w 1258"/>
                <a:gd name="T63" fmla="*/ 0 h 1457"/>
                <a:gd name="T64" fmla="*/ 1232 w 1258"/>
                <a:gd name="T65" fmla="*/ 1 h 1457"/>
                <a:gd name="T66" fmla="*/ 1244 w 1258"/>
                <a:gd name="T67" fmla="*/ 6 h 1457"/>
                <a:gd name="T68" fmla="*/ 1253 w 1258"/>
                <a:gd name="T69" fmla="*/ 15 h 1457"/>
                <a:gd name="T70" fmla="*/ 1258 w 1258"/>
                <a:gd name="T71" fmla="*/ 27 h 1457"/>
                <a:gd name="T72" fmla="*/ 1258 w 1258"/>
                <a:gd name="T73" fmla="*/ 1424 h 1457"/>
                <a:gd name="T74" fmla="*/ 1258 w 1258"/>
                <a:gd name="T75" fmla="*/ 1430 h 1457"/>
                <a:gd name="T76" fmla="*/ 1253 w 1258"/>
                <a:gd name="T77" fmla="*/ 1443 h 1457"/>
                <a:gd name="T78" fmla="*/ 1244 w 1258"/>
                <a:gd name="T79" fmla="*/ 1451 h 1457"/>
                <a:gd name="T80" fmla="*/ 1232 w 1258"/>
                <a:gd name="T81" fmla="*/ 1456 h 1457"/>
                <a:gd name="T82" fmla="*/ 1225 w 1258"/>
                <a:gd name="T83" fmla="*/ 1457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8" h="1457">
                  <a:moveTo>
                    <a:pt x="1225" y="1457"/>
                  </a:moveTo>
                  <a:lnTo>
                    <a:pt x="33" y="1457"/>
                  </a:lnTo>
                  <a:lnTo>
                    <a:pt x="33" y="1457"/>
                  </a:lnTo>
                  <a:lnTo>
                    <a:pt x="27" y="1456"/>
                  </a:lnTo>
                  <a:lnTo>
                    <a:pt x="21" y="1454"/>
                  </a:lnTo>
                  <a:lnTo>
                    <a:pt x="14" y="1451"/>
                  </a:lnTo>
                  <a:lnTo>
                    <a:pt x="9" y="1448"/>
                  </a:lnTo>
                  <a:lnTo>
                    <a:pt x="5" y="1443"/>
                  </a:lnTo>
                  <a:lnTo>
                    <a:pt x="3" y="1437"/>
                  </a:lnTo>
                  <a:lnTo>
                    <a:pt x="1" y="1430"/>
                  </a:lnTo>
                  <a:lnTo>
                    <a:pt x="0" y="1424"/>
                  </a:lnTo>
                  <a:lnTo>
                    <a:pt x="0" y="33"/>
                  </a:lnTo>
                  <a:lnTo>
                    <a:pt x="0" y="33"/>
                  </a:lnTo>
                  <a:lnTo>
                    <a:pt x="1" y="27"/>
                  </a:lnTo>
                  <a:lnTo>
                    <a:pt x="3" y="20"/>
                  </a:lnTo>
                  <a:lnTo>
                    <a:pt x="5" y="15"/>
                  </a:lnTo>
                  <a:lnTo>
                    <a:pt x="9" y="10"/>
                  </a:lnTo>
                  <a:lnTo>
                    <a:pt x="14" y="6"/>
                  </a:lnTo>
                  <a:lnTo>
                    <a:pt x="21" y="3"/>
                  </a:lnTo>
                  <a:lnTo>
                    <a:pt x="27" y="1"/>
                  </a:lnTo>
                  <a:lnTo>
                    <a:pt x="33" y="0"/>
                  </a:lnTo>
                  <a:lnTo>
                    <a:pt x="165" y="0"/>
                  </a:lnTo>
                  <a:lnTo>
                    <a:pt x="165" y="0"/>
                  </a:lnTo>
                  <a:lnTo>
                    <a:pt x="173" y="1"/>
                  </a:lnTo>
                  <a:lnTo>
                    <a:pt x="179" y="3"/>
                  </a:lnTo>
                  <a:lnTo>
                    <a:pt x="184" y="6"/>
                  </a:lnTo>
                  <a:lnTo>
                    <a:pt x="189" y="10"/>
                  </a:lnTo>
                  <a:lnTo>
                    <a:pt x="193" y="15"/>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66" y="66"/>
                  </a:lnTo>
                  <a:lnTo>
                    <a:pt x="66" y="1391"/>
                  </a:lnTo>
                  <a:lnTo>
                    <a:pt x="1192" y="1391"/>
                  </a:lnTo>
                  <a:lnTo>
                    <a:pt x="1192" y="66"/>
                  </a:lnTo>
                  <a:lnTo>
                    <a:pt x="1093" y="66"/>
                  </a:lnTo>
                  <a:lnTo>
                    <a:pt x="1093" y="66"/>
                  </a:lnTo>
                  <a:lnTo>
                    <a:pt x="1087" y="66"/>
                  </a:lnTo>
                  <a:lnTo>
                    <a:pt x="1080" y="64"/>
                  </a:lnTo>
                  <a:lnTo>
                    <a:pt x="1074" y="61"/>
                  </a:lnTo>
                  <a:lnTo>
                    <a:pt x="1070" y="57"/>
                  </a:lnTo>
                  <a:lnTo>
                    <a:pt x="1066" y="51"/>
                  </a:lnTo>
                  <a:lnTo>
                    <a:pt x="1063" y="46"/>
                  </a:lnTo>
                  <a:lnTo>
                    <a:pt x="1061" y="40"/>
                  </a:lnTo>
                  <a:lnTo>
                    <a:pt x="1060" y="33"/>
                  </a:lnTo>
                  <a:lnTo>
                    <a:pt x="1060" y="33"/>
                  </a:lnTo>
                  <a:lnTo>
                    <a:pt x="1061" y="27"/>
                  </a:lnTo>
                  <a:lnTo>
                    <a:pt x="1063" y="20"/>
                  </a:lnTo>
                  <a:lnTo>
                    <a:pt x="1066" y="15"/>
                  </a:lnTo>
                  <a:lnTo>
                    <a:pt x="1070" y="10"/>
                  </a:lnTo>
                  <a:lnTo>
                    <a:pt x="1074" y="6"/>
                  </a:lnTo>
                  <a:lnTo>
                    <a:pt x="1080" y="3"/>
                  </a:lnTo>
                  <a:lnTo>
                    <a:pt x="1087" y="1"/>
                  </a:lnTo>
                  <a:lnTo>
                    <a:pt x="1093" y="0"/>
                  </a:lnTo>
                  <a:lnTo>
                    <a:pt x="1225" y="0"/>
                  </a:lnTo>
                  <a:lnTo>
                    <a:pt x="1225" y="0"/>
                  </a:lnTo>
                  <a:lnTo>
                    <a:pt x="1232" y="1"/>
                  </a:lnTo>
                  <a:lnTo>
                    <a:pt x="1239" y="3"/>
                  </a:lnTo>
                  <a:lnTo>
                    <a:pt x="1244" y="6"/>
                  </a:lnTo>
                  <a:lnTo>
                    <a:pt x="1249" y="10"/>
                  </a:lnTo>
                  <a:lnTo>
                    <a:pt x="1253" y="15"/>
                  </a:lnTo>
                  <a:lnTo>
                    <a:pt x="1256" y="20"/>
                  </a:lnTo>
                  <a:lnTo>
                    <a:pt x="1258" y="27"/>
                  </a:lnTo>
                  <a:lnTo>
                    <a:pt x="1258" y="33"/>
                  </a:lnTo>
                  <a:lnTo>
                    <a:pt x="1258" y="1424"/>
                  </a:lnTo>
                  <a:lnTo>
                    <a:pt x="1258" y="1424"/>
                  </a:lnTo>
                  <a:lnTo>
                    <a:pt x="1258" y="1430"/>
                  </a:lnTo>
                  <a:lnTo>
                    <a:pt x="1256" y="1437"/>
                  </a:lnTo>
                  <a:lnTo>
                    <a:pt x="1253" y="1443"/>
                  </a:lnTo>
                  <a:lnTo>
                    <a:pt x="1249" y="1448"/>
                  </a:lnTo>
                  <a:lnTo>
                    <a:pt x="1244" y="1451"/>
                  </a:lnTo>
                  <a:lnTo>
                    <a:pt x="1239" y="1454"/>
                  </a:lnTo>
                  <a:lnTo>
                    <a:pt x="1232" y="1456"/>
                  </a:lnTo>
                  <a:lnTo>
                    <a:pt x="1225" y="1457"/>
                  </a:lnTo>
                  <a:lnTo>
                    <a:pt x="1225" y="1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6" name="Freeform 195">
              <a:extLst>
                <a:ext uri="{FF2B5EF4-FFF2-40B4-BE49-F238E27FC236}">
                  <a16:creationId xmlns:a16="http://schemas.microsoft.com/office/drawing/2014/main" id="{76E54DC7-E060-4826-9700-A0232562518F}"/>
                </a:ext>
              </a:extLst>
            </p:cNvPr>
            <p:cNvSpPr>
              <a:spLocks noEditPoints="1"/>
            </p:cNvSpPr>
            <p:nvPr/>
          </p:nvSpPr>
          <p:spPr bwMode="auto">
            <a:xfrm>
              <a:off x="4930775" y="2557463"/>
              <a:ext cx="165100" cy="90488"/>
            </a:xfrm>
            <a:custGeom>
              <a:avLst/>
              <a:gdLst>
                <a:gd name="T0" fmla="*/ 33 w 728"/>
                <a:gd name="T1" fmla="*/ 398 h 398"/>
                <a:gd name="T2" fmla="*/ 14 w 728"/>
                <a:gd name="T3" fmla="*/ 392 h 398"/>
                <a:gd name="T4" fmla="*/ 3 w 728"/>
                <a:gd name="T5" fmla="*/ 378 h 398"/>
                <a:gd name="T6" fmla="*/ 0 w 728"/>
                <a:gd name="T7" fmla="*/ 166 h 398"/>
                <a:gd name="T8" fmla="*/ 3 w 728"/>
                <a:gd name="T9" fmla="*/ 153 h 398"/>
                <a:gd name="T10" fmla="*/ 14 w 728"/>
                <a:gd name="T11" fmla="*/ 139 h 398"/>
                <a:gd name="T12" fmla="*/ 33 w 728"/>
                <a:gd name="T13" fmla="*/ 133 h 398"/>
                <a:gd name="T14" fmla="*/ 206 w 728"/>
                <a:gd name="T15" fmla="*/ 119 h 398"/>
                <a:gd name="T16" fmla="*/ 222 w 728"/>
                <a:gd name="T17" fmla="*/ 81 h 398"/>
                <a:gd name="T18" fmla="*/ 248 w 728"/>
                <a:gd name="T19" fmla="*/ 48 h 398"/>
                <a:gd name="T20" fmla="*/ 282 w 728"/>
                <a:gd name="T21" fmla="*/ 23 h 398"/>
                <a:gd name="T22" fmla="*/ 321 w 728"/>
                <a:gd name="T23" fmla="*/ 6 h 398"/>
                <a:gd name="T24" fmla="*/ 364 w 728"/>
                <a:gd name="T25" fmla="*/ 0 h 398"/>
                <a:gd name="T26" fmla="*/ 394 w 728"/>
                <a:gd name="T27" fmla="*/ 3 h 398"/>
                <a:gd name="T28" fmla="*/ 434 w 728"/>
                <a:gd name="T29" fmla="*/ 16 h 398"/>
                <a:gd name="T30" fmla="*/ 470 w 728"/>
                <a:gd name="T31" fmla="*/ 38 h 398"/>
                <a:gd name="T32" fmla="*/ 499 w 728"/>
                <a:gd name="T33" fmla="*/ 68 h 398"/>
                <a:gd name="T34" fmla="*/ 518 w 728"/>
                <a:gd name="T35" fmla="*/ 106 h 398"/>
                <a:gd name="T36" fmla="*/ 695 w 728"/>
                <a:gd name="T37" fmla="*/ 133 h 398"/>
                <a:gd name="T38" fmla="*/ 709 w 728"/>
                <a:gd name="T39" fmla="*/ 136 h 398"/>
                <a:gd name="T40" fmla="*/ 723 w 728"/>
                <a:gd name="T41" fmla="*/ 148 h 398"/>
                <a:gd name="T42" fmla="*/ 728 w 728"/>
                <a:gd name="T43" fmla="*/ 166 h 398"/>
                <a:gd name="T44" fmla="*/ 728 w 728"/>
                <a:gd name="T45" fmla="*/ 372 h 398"/>
                <a:gd name="T46" fmla="*/ 719 w 728"/>
                <a:gd name="T47" fmla="*/ 388 h 398"/>
                <a:gd name="T48" fmla="*/ 702 w 728"/>
                <a:gd name="T49" fmla="*/ 397 h 398"/>
                <a:gd name="T50" fmla="*/ 66 w 728"/>
                <a:gd name="T51" fmla="*/ 332 h 398"/>
                <a:gd name="T52" fmla="*/ 497 w 728"/>
                <a:gd name="T53" fmla="*/ 199 h 398"/>
                <a:gd name="T54" fmla="*/ 484 w 728"/>
                <a:gd name="T55" fmla="*/ 197 h 398"/>
                <a:gd name="T56" fmla="*/ 470 w 728"/>
                <a:gd name="T57" fmla="*/ 184 h 398"/>
                <a:gd name="T58" fmla="*/ 463 w 728"/>
                <a:gd name="T59" fmla="*/ 166 h 398"/>
                <a:gd name="T60" fmla="*/ 461 w 728"/>
                <a:gd name="T61" fmla="*/ 146 h 398"/>
                <a:gd name="T62" fmla="*/ 452 w 728"/>
                <a:gd name="T63" fmla="*/ 119 h 398"/>
                <a:gd name="T64" fmla="*/ 434 w 728"/>
                <a:gd name="T65" fmla="*/ 96 h 398"/>
                <a:gd name="T66" fmla="*/ 412 w 728"/>
                <a:gd name="T67" fmla="*/ 79 h 398"/>
                <a:gd name="T68" fmla="*/ 385 w 728"/>
                <a:gd name="T69" fmla="*/ 68 h 398"/>
                <a:gd name="T70" fmla="*/ 364 w 728"/>
                <a:gd name="T71" fmla="*/ 66 h 398"/>
                <a:gd name="T72" fmla="*/ 335 w 728"/>
                <a:gd name="T73" fmla="*/ 72 h 398"/>
                <a:gd name="T74" fmla="*/ 309 w 728"/>
                <a:gd name="T75" fmla="*/ 84 h 398"/>
                <a:gd name="T76" fmla="*/ 288 w 728"/>
                <a:gd name="T77" fmla="*/ 103 h 398"/>
                <a:gd name="T78" fmla="*/ 273 w 728"/>
                <a:gd name="T79" fmla="*/ 127 h 398"/>
                <a:gd name="T80" fmla="*/ 266 w 728"/>
                <a:gd name="T81" fmla="*/ 156 h 398"/>
                <a:gd name="T82" fmla="*/ 265 w 728"/>
                <a:gd name="T83" fmla="*/ 173 h 398"/>
                <a:gd name="T84" fmla="*/ 255 w 728"/>
                <a:gd name="T85" fmla="*/ 190 h 398"/>
                <a:gd name="T86" fmla="*/ 239 w 728"/>
                <a:gd name="T87" fmla="*/ 199 h 398"/>
                <a:gd name="T88" fmla="*/ 66 w 728"/>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8" h="398">
                  <a:moveTo>
                    <a:pt x="695" y="398"/>
                  </a:moveTo>
                  <a:lnTo>
                    <a:pt x="33" y="398"/>
                  </a:lnTo>
                  <a:lnTo>
                    <a:pt x="33" y="398"/>
                  </a:lnTo>
                  <a:lnTo>
                    <a:pt x="27" y="397"/>
                  </a:lnTo>
                  <a:lnTo>
                    <a:pt x="21" y="395"/>
                  </a:lnTo>
                  <a:lnTo>
                    <a:pt x="14" y="392"/>
                  </a:lnTo>
                  <a:lnTo>
                    <a:pt x="9" y="388"/>
                  </a:lnTo>
                  <a:lnTo>
                    <a:pt x="6" y="383"/>
                  </a:lnTo>
                  <a:lnTo>
                    <a:pt x="3" y="378"/>
                  </a:lnTo>
                  <a:lnTo>
                    <a:pt x="1" y="372"/>
                  </a:lnTo>
                  <a:lnTo>
                    <a:pt x="0" y="365"/>
                  </a:lnTo>
                  <a:lnTo>
                    <a:pt x="0" y="166"/>
                  </a:lnTo>
                  <a:lnTo>
                    <a:pt x="0" y="166"/>
                  </a:lnTo>
                  <a:lnTo>
                    <a:pt x="1" y="160"/>
                  </a:lnTo>
                  <a:lnTo>
                    <a:pt x="3" y="153"/>
                  </a:lnTo>
                  <a:lnTo>
                    <a:pt x="6" y="148"/>
                  </a:lnTo>
                  <a:lnTo>
                    <a:pt x="9" y="143"/>
                  </a:lnTo>
                  <a:lnTo>
                    <a:pt x="14" y="139"/>
                  </a:lnTo>
                  <a:lnTo>
                    <a:pt x="21" y="136"/>
                  </a:lnTo>
                  <a:lnTo>
                    <a:pt x="27" y="134"/>
                  </a:lnTo>
                  <a:lnTo>
                    <a:pt x="33" y="133"/>
                  </a:lnTo>
                  <a:lnTo>
                    <a:pt x="202" y="133"/>
                  </a:lnTo>
                  <a:lnTo>
                    <a:pt x="202" y="133"/>
                  </a:lnTo>
                  <a:lnTo>
                    <a:pt x="206" y="119"/>
                  </a:lnTo>
                  <a:lnTo>
                    <a:pt x="210" y="106"/>
                  </a:lnTo>
                  <a:lnTo>
                    <a:pt x="216" y="93"/>
                  </a:lnTo>
                  <a:lnTo>
                    <a:pt x="222" y="81"/>
                  </a:lnTo>
                  <a:lnTo>
                    <a:pt x="231" y="68"/>
                  </a:lnTo>
                  <a:lnTo>
                    <a:pt x="239" y="58"/>
                  </a:lnTo>
                  <a:lnTo>
                    <a:pt x="248" y="48"/>
                  </a:lnTo>
                  <a:lnTo>
                    <a:pt x="259" y="38"/>
                  </a:lnTo>
                  <a:lnTo>
                    <a:pt x="270" y="30"/>
                  </a:lnTo>
                  <a:lnTo>
                    <a:pt x="282" y="23"/>
                  </a:lnTo>
                  <a:lnTo>
                    <a:pt x="295" y="16"/>
                  </a:lnTo>
                  <a:lnTo>
                    <a:pt x="307" y="11"/>
                  </a:lnTo>
                  <a:lnTo>
                    <a:pt x="321" y="6"/>
                  </a:lnTo>
                  <a:lnTo>
                    <a:pt x="335" y="3"/>
                  </a:lnTo>
                  <a:lnTo>
                    <a:pt x="350" y="1"/>
                  </a:lnTo>
                  <a:lnTo>
                    <a:pt x="364" y="0"/>
                  </a:lnTo>
                  <a:lnTo>
                    <a:pt x="364" y="0"/>
                  </a:lnTo>
                  <a:lnTo>
                    <a:pt x="380" y="1"/>
                  </a:lnTo>
                  <a:lnTo>
                    <a:pt x="394" y="3"/>
                  </a:lnTo>
                  <a:lnTo>
                    <a:pt x="408" y="6"/>
                  </a:lnTo>
                  <a:lnTo>
                    <a:pt x="421" y="11"/>
                  </a:lnTo>
                  <a:lnTo>
                    <a:pt x="434" y="16"/>
                  </a:lnTo>
                  <a:lnTo>
                    <a:pt x="447" y="23"/>
                  </a:lnTo>
                  <a:lnTo>
                    <a:pt x="458" y="30"/>
                  </a:lnTo>
                  <a:lnTo>
                    <a:pt x="470" y="38"/>
                  </a:lnTo>
                  <a:lnTo>
                    <a:pt x="480" y="48"/>
                  </a:lnTo>
                  <a:lnTo>
                    <a:pt x="489" y="58"/>
                  </a:lnTo>
                  <a:lnTo>
                    <a:pt x="499" y="68"/>
                  </a:lnTo>
                  <a:lnTo>
                    <a:pt x="506" y="81"/>
                  </a:lnTo>
                  <a:lnTo>
                    <a:pt x="513" y="93"/>
                  </a:lnTo>
                  <a:lnTo>
                    <a:pt x="518" y="106"/>
                  </a:lnTo>
                  <a:lnTo>
                    <a:pt x="523" y="119"/>
                  </a:lnTo>
                  <a:lnTo>
                    <a:pt x="527" y="133"/>
                  </a:lnTo>
                  <a:lnTo>
                    <a:pt x="695" y="133"/>
                  </a:lnTo>
                  <a:lnTo>
                    <a:pt x="695" y="133"/>
                  </a:lnTo>
                  <a:lnTo>
                    <a:pt x="702" y="134"/>
                  </a:lnTo>
                  <a:lnTo>
                    <a:pt x="709" y="136"/>
                  </a:lnTo>
                  <a:lnTo>
                    <a:pt x="714" y="139"/>
                  </a:lnTo>
                  <a:lnTo>
                    <a:pt x="719" y="143"/>
                  </a:lnTo>
                  <a:lnTo>
                    <a:pt x="723" y="148"/>
                  </a:lnTo>
                  <a:lnTo>
                    <a:pt x="726" y="153"/>
                  </a:lnTo>
                  <a:lnTo>
                    <a:pt x="728" y="160"/>
                  </a:lnTo>
                  <a:lnTo>
                    <a:pt x="728" y="166"/>
                  </a:lnTo>
                  <a:lnTo>
                    <a:pt x="728" y="365"/>
                  </a:lnTo>
                  <a:lnTo>
                    <a:pt x="728" y="365"/>
                  </a:lnTo>
                  <a:lnTo>
                    <a:pt x="728" y="372"/>
                  </a:lnTo>
                  <a:lnTo>
                    <a:pt x="726" y="378"/>
                  </a:lnTo>
                  <a:lnTo>
                    <a:pt x="723" y="383"/>
                  </a:lnTo>
                  <a:lnTo>
                    <a:pt x="719" y="388"/>
                  </a:lnTo>
                  <a:lnTo>
                    <a:pt x="714" y="392"/>
                  </a:lnTo>
                  <a:lnTo>
                    <a:pt x="709" y="395"/>
                  </a:lnTo>
                  <a:lnTo>
                    <a:pt x="702" y="397"/>
                  </a:lnTo>
                  <a:lnTo>
                    <a:pt x="695" y="398"/>
                  </a:lnTo>
                  <a:lnTo>
                    <a:pt x="695" y="398"/>
                  </a:lnTo>
                  <a:close/>
                  <a:moveTo>
                    <a:pt x="66" y="332"/>
                  </a:moveTo>
                  <a:lnTo>
                    <a:pt x="662" y="332"/>
                  </a:lnTo>
                  <a:lnTo>
                    <a:pt x="662" y="199"/>
                  </a:lnTo>
                  <a:lnTo>
                    <a:pt x="497" y="199"/>
                  </a:lnTo>
                  <a:lnTo>
                    <a:pt x="497" y="199"/>
                  </a:lnTo>
                  <a:lnTo>
                    <a:pt x="490" y="199"/>
                  </a:lnTo>
                  <a:lnTo>
                    <a:pt x="484" y="197"/>
                  </a:lnTo>
                  <a:lnTo>
                    <a:pt x="478" y="194"/>
                  </a:lnTo>
                  <a:lnTo>
                    <a:pt x="474" y="190"/>
                  </a:lnTo>
                  <a:lnTo>
                    <a:pt x="470" y="184"/>
                  </a:lnTo>
                  <a:lnTo>
                    <a:pt x="467" y="179"/>
                  </a:lnTo>
                  <a:lnTo>
                    <a:pt x="464" y="173"/>
                  </a:lnTo>
                  <a:lnTo>
                    <a:pt x="463" y="166"/>
                  </a:lnTo>
                  <a:lnTo>
                    <a:pt x="463" y="166"/>
                  </a:lnTo>
                  <a:lnTo>
                    <a:pt x="463" y="156"/>
                  </a:lnTo>
                  <a:lnTo>
                    <a:pt x="461" y="146"/>
                  </a:lnTo>
                  <a:lnTo>
                    <a:pt x="459" y="137"/>
                  </a:lnTo>
                  <a:lnTo>
                    <a:pt x="456" y="127"/>
                  </a:lnTo>
                  <a:lnTo>
                    <a:pt x="452" y="119"/>
                  </a:lnTo>
                  <a:lnTo>
                    <a:pt x="447" y="111"/>
                  </a:lnTo>
                  <a:lnTo>
                    <a:pt x="441" y="103"/>
                  </a:lnTo>
                  <a:lnTo>
                    <a:pt x="434" y="96"/>
                  </a:lnTo>
                  <a:lnTo>
                    <a:pt x="427" y="89"/>
                  </a:lnTo>
                  <a:lnTo>
                    <a:pt x="420" y="84"/>
                  </a:lnTo>
                  <a:lnTo>
                    <a:pt x="412" y="79"/>
                  </a:lnTo>
                  <a:lnTo>
                    <a:pt x="403" y="75"/>
                  </a:lnTo>
                  <a:lnTo>
                    <a:pt x="394" y="72"/>
                  </a:lnTo>
                  <a:lnTo>
                    <a:pt x="385" y="68"/>
                  </a:lnTo>
                  <a:lnTo>
                    <a:pt x="374" y="67"/>
                  </a:lnTo>
                  <a:lnTo>
                    <a:pt x="364" y="66"/>
                  </a:lnTo>
                  <a:lnTo>
                    <a:pt x="364" y="66"/>
                  </a:lnTo>
                  <a:lnTo>
                    <a:pt x="354" y="67"/>
                  </a:lnTo>
                  <a:lnTo>
                    <a:pt x="344" y="68"/>
                  </a:lnTo>
                  <a:lnTo>
                    <a:pt x="335" y="72"/>
                  </a:lnTo>
                  <a:lnTo>
                    <a:pt x="326" y="75"/>
                  </a:lnTo>
                  <a:lnTo>
                    <a:pt x="316" y="79"/>
                  </a:lnTo>
                  <a:lnTo>
                    <a:pt x="309" y="84"/>
                  </a:lnTo>
                  <a:lnTo>
                    <a:pt x="301" y="89"/>
                  </a:lnTo>
                  <a:lnTo>
                    <a:pt x="294" y="96"/>
                  </a:lnTo>
                  <a:lnTo>
                    <a:pt x="288" y="103"/>
                  </a:lnTo>
                  <a:lnTo>
                    <a:pt x="282" y="111"/>
                  </a:lnTo>
                  <a:lnTo>
                    <a:pt x="277" y="119"/>
                  </a:lnTo>
                  <a:lnTo>
                    <a:pt x="273" y="127"/>
                  </a:lnTo>
                  <a:lnTo>
                    <a:pt x="270" y="137"/>
                  </a:lnTo>
                  <a:lnTo>
                    <a:pt x="267" y="146"/>
                  </a:lnTo>
                  <a:lnTo>
                    <a:pt x="266" y="156"/>
                  </a:lnTo>
                  <a:lnTo>
                    <a:pt x="265" y="166"/>
                  </a:lnTo>
                  <a:lnTo>
                    <a:pt x="265" y="166"/>
                  </a:lnTo>
                  <a:lnTo>
                    <a:pt x="265" y="173"/>
                  </a:lnTo>
                  <a:lnTo>
                    <a:pt x="263" y="179"/>
                  </a:lnTo>
                  <a:lnTo>
                    <a:pt x="260" y="184"/>
                  </a:lnTo>
                  <a:lnTo>
                    <a:pt x="255" y="190"/>
                  </a:lnTo>
                  <a:lnTo>
                    <a:pt x="250" y="194"/>
                  </a:lnTo>
                  <a:lnTo>
                    <a:pt x="245" y="197"/>
                  </a:lnTo>
                  <a:lnTo>
                    <a:pt x="239" y="199"/>
                  </a:lnTo>
                  <a:lnTo>
                    <a:pt x="232" y="199"/>
                  </a:lnTo>
                  <a:lnTo>
                    <a:pt x="66" y="199"/>
                  </a:lnTo>
                  <a:lnTo>
                    <a:pt x="66"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7" name="Freeform 196">
              <a:extLst>
                <a:ext uri="{FF2B5EF4-FFF2-40B4-BE49-F238E27FC236}">
                  <a16:creationId xmlns:a16="http://schemas.microsoft.com/office/drawing/2014/main" id="{2FDA6166-5B7A-4188-B999-4C063C2F31D9}"/>
                </a:ext>
              </a:extLst>
            </p:cNvPr>
            <p:cNvSpPr>
              <a:spLocks/>
            </p:cNvSpPr>
            <p:nvPr/>
          </p:nvSpPr>
          <p:spPr bwMode="auto">
            <a:xfrm>
              <a:off x="4900613" y="2617788"/>
              <a:ext cx="225425" cy="269875"/>
            </a:xfrm>
            <a:custGeom>
              <a:avLst/>
              <a:gdLst>
                <a:gd name="T0" fmla="*/ 33 w 994"/>
                <a:gd name="T1" fmla="*/ 1193 h 1193"/>
                <a:gd name="T2" fmla="*/ 27 w 994"/>
                <a:gd name="T3" fmla="*/ 1192 h 1193"/>
                <a:gd name="T4" fmla="*/ 15 w 994"/>
                <a:gd name="T5" fmla="*/ 1187 h 1193"/>
                <a:gd name="T6" fmla="*/ 7 w 994"/>
                <a:gd name="T7" fmla="*/ 1178 h 1193"/>
                <a:gd name="T8" fmla="*/ 1 w 994"/>
                <a:gd name="T9" fmla="*/ 1166 h 1193"/>
                <a:gd name="T10" fmla="*/ 0 w 994"/>
                <a:gd name="T11" fmla="*/ 34 h 1193"/>
                <a:gd name="T12" fmla="*/ 1 w 994"/>
                <a:gd name="T13" fmla="*/ 27 h 1193"/>
                <a:gd name="T14" fmla="*/ 7 w 994"/>
                <a:gd name="T15" fmla="*/ 16 h 1193"/>
                <a:gd name="T16" fmla="*/ 15 w 994"/>
                <a:gd name="T17" fmla="*/ 6 h 1193"/>
                <a:gd name="T18" fmla="*/ 27 w 994"/>
                <a:gd name="T19" fmla="*/ 1 h 1193"/>
                <a:gd name="T20" fmla="*/ 166 w 994"/>
                <a:gd name="T21" fmla="*/ 0 h 1193"/>
                <a:gd name="T22" fmla="*/ 173 w 994"/>
                <a:gd name="T23" fmla="*/ 1 h 1193"/>
                <a:gd name="T24" fmla="*/ 185 w 994"/>
                <a:gd name="T25" fmla="*/ 6 h 1193"/>
                <a:gd name="T26" fmla="*/ 194 w 994"/>
                <a:gd name="T27" fmla="*/ 16 h 1193"/>
                <a:gd name="T28" fmla="*/ 198 w 994"/>
                <a:gd name="T29" fmla="*/ 27 h 1193"/>
                <a:gd name="T30" fmla="*/ 199 w 994"/>
                <a:gd name="T31" fmla="*/ 34 h 1193"/>
                <a:gd name="T32" fmla="*/ 197 w 994"/>
                <a:gd name="T33" fmla="*/ 47 h 1193"/>
                <a:gd name="T34" fmla="*/ 190 w 994"/>
                <a:gd name="T35" fmla="*/ 57 h 1193"/>
                <a:gd name="T36" fmla="*/ 179 w 994"/>
                <a:gd name="T37" fmla="*/ 64 h 1193"/>
                <a:gd name="T38" fmla="*/ 166 w 994"/>
                <a:gd name="T39" fmla="*/ 67 h 1193"/>
                <a:gd name="T40" fmla="*/ 67 w 994"/>
                <a:gd name="T41" fmla="*/ 1127 h 1193"/>
                <a:gd name="T42" fmla="*/ 928 w 994"/>
                <a:gd name="T43" fmla="*/ 67 h 1193"/>
                <a:gd name="T44" fmla="*/ 828 w 994"/>
                <a:gd name="T45" fmla="*/ 67 h 1193"/>
                <a:gd name="T46" fmla="*/ 816 w 994"/>
                <a:gd name="T47" fmla="*/ 64 h 1193"/>
                <a:gd name="T48" fmla="*/ 805 w 994"/>
                <a:gd name="T49" fmla="*/ 57 h 1193"/>
                <a:gd name="T50" fmla="*/ 798 w 994"/>
                <a:gd name="T51" fmla="*/ 47 h 1193"/>
                <a:gd name="T52" fmla="*/ 795 w 994"/>
                <a:gd name="T53" fmla="*/ 34 h 1193"/>
                <a:gd name="T54" fmla="*/ 796 w 994"/>
                <a:gd name="T55" fmla="*/ 27 h 1193"/>
                <a:gd name="T56" fmla="*/ 801 w 994"/>
                <a:gd name="T57" fmla="*/ 16 h 1193"/>
                <a:gd name="T58" fmla="*/ 810 w 994"/>
                <a:gd name="T59" fmla="*/ 6 h 1193"/>
                <a:gd name="T60" fmla="*/ 822 w 994"/>
                <a:gd name="T61" fmla="*/ 1 h 1193"/>
                <a:gd name="T62" fmla="*/ 961 w 994"/>
                <a:gd name="T63" fmla="*/ 0 h 1193"/>
                <a:gd name="T64" fmla="*/ 968 w 994"/>
                <a:gd name="T65" fmla="*/ 1 h 1193"/>
                <a:gd name="T66" fmla="*/ 979 w 994"/>
                <a:gd name="T67" fmla="*/ 6 h 1193"/>
                <a:gd name="T68" fmla="*/ 989 w 994"/>
                <a:gd name="T69" fmla="*/ 16 h 1193"/>
                <a:gd name="T70" fmla="*/ 994 w 994"/>
                <a:gd name="T71" fmla="*/ 27 h 1193"/>
                <a:gd name="T72" fmla="*/ 994 w 994"/>
                <a:gd name="T73" fmla="*/ 1160 h 1193"/>
                <a:gd name="T74" fmla="*/ 994 w 994"/>
                <a:gd name="T75" fmla="*/ 1166 h 1193"/>
                <a:gd name="T76" fmla="*/ 989 w 994"/>
                <a:gd name="T77" fmla="*/ 1178 h 1193"/>
                <a:gd name="T78" fmla="*/ 979 w 994"/>
                <a:gd name="T79" fmla="*/ 1187 h 1193"/>
                <a:gd name="T80" fmla="*/ 968 w 994"/>
                <a:gd name="T81" fmla="*/ 1192 h 1193"/>
                <a:gd name="T82" fmla="*/ 961 w 994"/>
                <a:gd name="T83" fmla="*/ 1193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94" h="1193">
                  <a:moveTo>
                    <a:pt x="961" y="1193"/>
                  </a:moveTo>
                  <a:lnTo>
                    <a:pt x="33" y="1193"/>
                  </a:lnTo>
                  <a:lnTo>
                    <a:pt x="33" y="1193"/>
                  </a:lnTo>
                  <a:lnTo>
                    <a:pt x="27" y="1192"/>
                  </a:lnTo>
                  <a:lnTo>
                    <a:pt x="21" y="1190"/>
                  </a:lnTo>
                  <a:lnTo>
                    <a:pt x="15" y="1187"/>
                  </a:lnTo>
                  <a:lnTo>
                    <a:pt x="10" y="1183"/>
                  </a:lnTo>
                  <a:lnTo>
                    <a:pt x="7" y="1178"/>
                  </a:lnTo>
                  <a:lnTo>
                    <a:pt x="3" y="1172"/>
                  </a:lnTo>
                  <a:lnTo>
                    <a:pt x="1" y="1166"/>
                  </a:lnTo>
                  <a:lnTo>
                    <a:pt x="0" y="1160"/>
                  </a:lnTo>
                  <a:lnTo>
                    <a:pt x="0" y="34"/>
                  </a:lnTo>
                  <a:lnTo>
                    <a:pt x="0" y="34"/>
                  </a:lnTo>
                  <a:lnTo>
                    <a:pt x="1" y="27"/>
                  </a:lnTo>
                  <a:lnTo>
                    <a:pt x="3" y="21"/>
                  </a:lnTo>
                  <a:lnTo>
                    <a:pt x="7" y="16"/>
                  </a:lnTo>
                  <a:lnTo>
                    <a:pt x="10" y="10"/>
                  </a:lnTo>
                  <a:lnTo>
                    <a:pt x="15" y="6"/>
                  </a:lnTo>
                  <a:lnTo>
                    <a:pt x="21" y="3"/>
                  </a:lnTo>
                  <a:lnTo>
                    <a:pt x="27" y="1"/>
                  </a:lnTo>
                  <a:lnTo>
                    <a:pt x="33" y="0"/>
                  </a:lnTo>
                  <a:lnTo>
                    <a:pt x="166" y="0"/>
                  </a:lnTo>
                  <a:lnTo>
                    <a:pt x="166" y="0"/>
                  </a:lnTo>
                  <a:lnTo>
                    <a:pt x="173" y="1"/>
                  </a:lnTo>
                  <a:lnTo>
                    <a:pt x="179" y="3"/>
                  </a:lnTo>
                  <a:lnTo>
                    <a:pt x="185" y="6"/>
                  </a:lnTo>
                  <a:lnTo>
                    <a:pt x="190" y="10"/>
                  </a:lnTo>
                  <a:lnTo>
                    <a:pt x="194" y="16"/>
                  </a:lnTo>
                  <a:lnTo>
                    <a:pt x="197" y="21"/>
                  </a:lnTo>
                  <a:lnTo>
                    <a:pt x="198" y="27"/>
                  </a:lnTo>
                  <a:lnTo>
                    <a:pt x="199" y="34"/>
                  </a:lnTo>
                  <a:lnTo>
                    <a:pt x="199" y="34"/>
                  </a:lnTo>
                  <a:lnTo>
                    <a:pt x="198" y="40"/>
                  </a:lnTo>
                  <a:lnTo>
                    <a:pt x="197" y="47"/>
                  </a:lnTo>
                  <a:lnTo>
                    <a:pt x="194" y="52"/>
                  </a:lnTo>
                  <a:lnTo>
                    <a:pt x="190" y="57"/>
                  </a:lnTo>
                  <a:lnTo>
                    <a:pt x="185" y="61"/>
                  </a:lnTo>
                  <a:lnTo>
                    <a:pt x="179" y="64"/>
                  </a:lnTo>
                  <a:lnTo>
                    <a:pt x="173" y="66"/>
                  </a:lnTo>
                  <a:lnTo>
                    <a:pt x="166" y="67"/>
                  </a:lnTo>
                  <a:lnTo>
                    <a:pt x="67" y="67"/>
                  </a:lnTo>
                  <a:lnTo>
                    <a:pt x="67" y="1127"/>
                  </a:lnTo>
                  <a:lnTo>
                    <a:pt x="928" y="1127"/>
                  </a:lnTo>
                  <a:lnTo>
                    <a:pt x="928" y="67"/>
                  </a:lnTo>
                  <a:lnTo>
                    <a:pt x="828" y="67"/>
                  </a:lnTo>
                  <a:lnTo>
                    <a:pt x="828" y="67"/>
                  </a:lnTo>
                  <a:lnTo>
                    <a:pt x="822" y="66"/>
                  </a:lnTo>
                  <a:lnTo>
                    <a:pt x="816" y="64"/>
                  </a:lnTo>
                  <a:lnTo>
                    <a:pt x="810" y="61"/>
                  </a:lnTo>
                  <a:lnTo>
                    <a:pt x="805" y="57"/>
                  </a:lnTo>
                  <a:lnTo>
                    <a:pt x="801" y="52"/>
                  </a:lnTo>
                  <a:lnTo>
                    <a:pt x="798" y="47"/>
                  </a:lnTo>
                  <a:lnTo>
                    <a:pt x="796" y="40"/>
                  </a:lnTo>
                  <a:lnTo>
                    <a:pt x="795" y="34"/>
                  </a:lnTo>
                  <a:lnTo>
                    <a:pt x="795" y="34"/>
                  </a:lnTo>
                  <a:lnTo>
                    <a:pt x="796" y="27"/>
                  </a:lnTo>
                  <a:lnTo>
                    <a:pt x="798" y="21"/>
                  </a:lnTo>
                  <a:lnTo>
                    <a:pt x="801" y="16"/>
                  </a:lnTo>
                  <a:lnTo>
                    <a:pt x="805" y="10"/>
                  </a:lnTo>
                  <a:lnTo>
                    <a:pt x="810" y="6"/>
                  </a:lnTo>
                  <a:lnTo>
                    <a:pt x="816" y="3"/>
                  </a:lnTo>
                  <a:lnTo>
                    <a:pt x="822" y="1"/>
                  </a:lnTo>
                  <a:lnTo>
                    <a:pt x="828" y="0"/>
                  </a:lnTo>
                  <a:lnTo>
                    <a:pt x="961" y="0"/>
                  </a:lnTo>
                  <a:lnTo>
                    <a:pt x="961" y="0"/>
                  </a:lnTo>
                  <a:lnTo>
                    <a:pt x="968" y="1"/>
                  </a:lnTo>
                  <a:lnTo>
                    <a:pt x="974" y="3"/>
                  </a:lnTo>
                  <a:lnTo>
                    <a:pt x="979" y="6"/>
                  </a:lnTo>
                  <a:lnTo>
                    <a:pt x="985" y="10"/>
                  </a:lnTo>
                  <a:lnTo>
                    <a:pt x="989" y="16"/>
                  </a:lnTo>
                  <a:lnTo>
                    <a:pt x="992" y="21"/>
                  </a:lnTo>
                  <a:lnTo>
                    <a:pt x="994" y="27"/>
                  </a:lnTo>
                  <a:lnTo>
                    <a:pt x="994" y="34"/>
                  </a:lnTo>
                  <a:lnTo>
                    <a:pt x="994" y="1160"/>
                  </a:lnTo>
                  <a:lnTo>
                    <a:pt x="994" y="1160"/>
                  </a:lnTo>
                  <a:lnTo>
                    <a:pt x="994" y="1166"/>
                  </a:lnTo>
                  <a:lnTo>
                    <a:pt x="992" y="1172"/>
                  </a:lnTo>
                  <a:lnTo>
                    <a:pt x="989" y="1178"/>
                  </a:lnTo>
                  <a:lnTo>
                    <a:pt x="985" y="1183"/>
                  </a:lnTo>
                  <a:lnTo>
                    <a:pt x="979" y="1187"/>
                  </a:lnTo>
                  <a:lnTo>
                    <a:pt x="974" y="1190"/>
                  </a:lnTo>
                  <a:lnTo>
                    <a:pt x="968" y="1192"/>
                  </a:lnTo>
                  <a:lnTo>
                    <a:pt x="961" y="1193"/>
                  </a:lnTo>
                  <a:lnTo>
                    <a:pt x="961" y="1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8" name="Freeform 197">
              <a:extLst>
                <a:ext uri="{FF2B5EF4-FFF2-40B4-BE49-F238E27FC236}">
                  <a16:creationId xmlns:a16="http://schemas.microsoft.com/office/drawing/2014/main" id="{F5F24D8C-C0C8-41B7-A9C5-0CE90E0D3E21}"/>
                </a:ext>
              </a:extLst>
            </p:cNvPr>
            <p:cNvSpPr>
              <a:spLocks/>
            </p:cNvSpPr>
            <p:nvPr/>
          </p:nvSpPr>
          <p:spPr bwMode="auto">
            <a:xfrm>
              <a:off x="4945063" y="2798763"/>
              <a:ext cx="134938" cy="14288"/>
            </a:xfrm>
            <a:custGeom>
              <a:avLst/>
              <a:gdLst>
                <a:gd name="T0" fmla="*/ 563 w 596"/>
                <a:gd name="T1" fmla="*/ 66 h 66"/>
                <a:gd name="T2" fmla="*/ 33 w 596"/>
                <a:gd name="T3" fmla="*/ 66 h 66"/>
                <a:gd name="T4" fmla="*/ 33 w 596"/>
                <a:gd name="T5" fmla="*/ 66 h 66"/>
                <a:gd name="T6" fmla="*/ 27 w 596"/>
                <a:gd name="T7" fmla="*/ 65 h 66"/>
                <a:gd name="T8" fmla="*/ 21 w 596"/>
                <a:gd name="T9" fmla="*/ 63 h 66"/>
                <a:gd name="T10" fmla="*/ 15 w 596"/>
                <a:gd name="T11" fmla="*/ 60 h 66"/>
                <a:gd name="T12" fmla="*/ 10 w 596"/>
                <a:gd name="T13" fmla="*/ 55 h 66"/>
                <a:gd name="T14" fmla="*/ 6 w 596"/>
                <a:gd name="T15" fmla="*/ 51 h 66"/>
                <a:gd name="T16" fmla="*/ 3 w 596"/>
                <a:gd name="T17" fmla="*/ 45 h 66"/>
                <a:gd name="T18" fmla="*/ 1 w 596"/>
                <a:gd name="T19" fmla="*/ 39 h 66"/>
                <a:gd name="T20" fmla="*/ 0 w 596"/>
                <a:gd name="T21" fmla="*/ 33 h 66"/>
                <a:gd name="T22" fmla="*/ 0 w 596"/>
                <a:gd name="T23" fmla="*/ 33 h 66"/>
                <a:gd name="T24" fmla="*/ 1 w 596"/>
                <a:gd name="T25" fmla="*/ 25 h 66"/>
                <a:gd name="T26" fmla="*/ 3 w 596"/>
                <a:gd name="T27" fmla="*/ 19 h 66"/>
                <a:gd name="T28" fmla="*/ 6 w 596"/>
                <a:gd name="T29" fmla="*/ 14 h 66"/>
                <a:gd name="T30" fmla="*/ 10 w 596"/>
                <a:gd name="T31" fmla="*/ 9 h 66"/>
                <a:gd name="T32" fmla="*/ 15 w 596"/>
                <a:gd name="T33" fmla="*/ 5 h 66"/>
                <a:gd name="T34" fmla="*/ 21 w 596"/>
                <a:gd name="T35" fmla="*/ 2 h 66"/>
                <a:gd name="T36" fmla="*/ 27 w 596"/>
                <a:gd name="T37" fmla="*/ 0 h 66"/>
                <a:gd name="T38" fmla="*/ 33 w 596"/>
                <a:gd name="T39" fmla="*/ 0 h 66"/>
                <a:gd name="T40" fmla="*/ 563 w 596"/>
                <a:gd name="T41" fmla="*/ 0 h 66"/>
                <a:gd name="T42" fmla="*/ 563 w 596"/>
                <a:gd name="T43" fmla="*/ 0 h 66"/>
                <a:gd name="T44" fmla="*/ 570 w 596"/>
                <a:gd name="T45" fmla="*/ 0 h 66"/>
                <a:gd name="T46" fmla="*/ 576 w 596"/>
                <a:gd name="T47" fmla="*/ 2 h 66"/>
                <a:gd name="T48" fmla="*/ 582 w 596"/>
                <a:gd name="T49" fmla="*/ 5 h 66"/>
                <a:gd name="T50" fmla="*/ 587 w 596"/>
                <a:gd name="T51" fmla="*/ 9 h 66"/>
                <a:gd name="T52" fmla="*/ 591 w 596"/>
                <a:gd name="T53" fmla="*/ 14 h 66"/>
                <a:gd name="T54" fmla="*/ 594 w 596"/>
                <a:gd name="T55" fmla="*/ 19 h 66"/>
                <a:gd name="T56" fmla="*/ 596 w 596"/>
                <a:gd name="T57" fmla="*/ 25 h 66"/>
                <a:gd name="T58" fmla="*/ 596 w 596"/>
                <a:gd name="T59" fmla="*/ 33 h 66"/>
                <a:gd name="T60" fmla="*/ 596 w 596"/>
                <a:gd name="T61" fmla="*/ 33 h 66"/>
                <a:gd name="T62" fmla="*/ 596 w 596"/>
                <a:gd name="T63" fmla="*/ 39 h 66"/>
                <a:gd name="T64" fmla="*/ 594 w 596"/>
                <a:gd name="T65" fmla="*/ 45 h 66"/>
                <a:gd name="T66" fmla="*/ 591 w 596"/>
                <a:gd name="T67" fmla="*/ 51 h 66"/>
                <a:gd name="T68" fmla="*/ 587 w 596"/>
                <a:gd name="T69" fmla="*/ 55 h 66"/>
                <a:gd name="T70" fmla="*/ 582 w 596"/>
                <a:gd name="T71" fmla="*/ 60 h 66"/>
                <a:gd name="T72" fmla="*/ 576 w 596"/>
                <a:gd name="T73" fmla="*/ 63 h 66"/>
                <a:gd name="T74" fmla="*/ 570 w 596"/>
                <a:gd name="T75" fmla="*/ 65 h 66"/>
                <a:gd name="T76" fmla="*/ 563 w 596"/>
                <a:gd name="T77" fmla="*/ 66 h 66"/>
                <a:gd name="T78" fmla="*/ 563 w 5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66">
                  <a:moveTo>
                    <a:pt x="563" y="66"/>
                  </a:moveTo>
                  <a:lnTo>
                    <a:pt x="33" y="66"/>
                  </a:lnTo>
                  <a:lnTo>
                    <a:pt x="33" y="66"/>
                  </a:lnTo>
                  <a:lnTo>
                    <a:pt x="27" y="65"/>
                  </a:lnTo>
                  <a:lnTo>
                    <a:pt x="21" y="63"/>
                  </a:lnTo>
                  <a:lnTo>
                    <a:pt x="15" y="60"/>
                  </a:lnTo>
                  <a:lnTo>
                    <a:pt x="10" y="55"/>
                  </a:lnTo>
                  <a:lnTo>
                    <a:pt x="6" y="51"/>
                  </a:lnTo>
                  <a:lnTo>
                    <a:pt x="3" y="45"/>
                  </a:lnTo>
                  <a:lnTo>
                    <a:pt x="1" y="39"/>
                  </a:lnTo>
                  <a:lnTo>
                    <a:pt x="0" y="33"/>
                  </a:lnTo>
                  <a:lnTo>
                    <a:pt x="0" y="33"/>
                  </a:lnTo>
                  <a:lnTo>
                    <a:pt x="1" y="25"/>
                  </a:lnTo>
                  <a:lnTo>
                    <a:pt x="3" y="19"/>
                  </a:lnTo>
                  <a:lnTo>
                    <a:pt x="6" y="14"/>
                  </a:lnTo>
                  <a:lnTo>
                    <a:pt x="10" y="9"/>
                  </a:lnTo>
                  <a:lnTo>
                    <a:pt x="15" y="5"/>
                  </a:lnTo>
                  <a:lnTo>
                    <a:pt x="21" y="2"/>
                  </a:lnTo>
                  <a:lnTo>
                    <a:pt x="27" y="0"/>
                  </a:lnTo>
                  <a:lnTo>
                    <a:pt x="33" y="0"/>
                  </a:lnTo>
                  <a:lnTo>
                    <a:pt x="563" y="0"/>
                  </a:lnTo>
                  <a:lnTo>
                    <a:pt x="563" y="0"/>
                  </a:lnTo>
                  <a:lnTo>
                    <a:pt x="570" y="0"/>
                  </a:lnTo>
                  <a:lnTo>
                    <a:pt x="576" y="2"/>
                  </a:lnTo>
                  <a:lnTo>
                    <a:pt x="582" y="5"/>
                  </a:lnTo>
                  <a:lnTo>
                    <a:pt x="587" y="9"/>
                  </a:lnTo>
                  <a:lnTo>
                    <a:pt x="591" y="14"/>
                  </a:lnTo>
                  <a:lnTo>
                    <a:pt x="594" y="19"/>
                  </a:lnTo>
                  <a:lnTo>
                    <a:pt x="596" y="25"/>
                  </a:lnTo>
                  <a:lnTo>
                    <a:pt x="596" y="33"/>
                  </a:lnTo>
                  <a:lnTo>
                    <a:pt x="596" y="33"/>
                  </a:lnTo>
                  <a:lnTo>
                    <a:pt x="596" y="39"/>
                  </a:lnTo>
                  <a:lnTo>
                    <a:pt x="594" y="45"/>
                  </a:lnTo>
                  <a:lnTo>
                    <a:pt x="591" y="51"/>
                  </a:lnTo>
                  <a:lnTo>
                    <a:pt x="587" y="55"/>
                  </a:lnTo>
                  <a:lnTo>
                    <a:pt x="582" y="60"/>
                  </a:lnTo>
                  <a:lnTo>
                    <a:pt x="576" y="63"/>
                  </a:lnTo>
                  <a:lnTo>
                    <a:pt x="570" y="65"/>
                  </a:lnTo>
                  <a:lnTo>
                    <a:pt x="563" y="66"/>
                  </a:lnTo>
                  <a:lnTo>
                    <a:pt x="5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9" name="Freeform 198">
              <a:extLst>
                <a:ext uri="{FF2B5EF4-FFF2-40B4-BE49-F238E27FC236}">
                  <a16:creationId xmlns:a16="http://schemas.microsoft.com/office/drawing/2014/main" id="{1CE84F9A-BC4A-42AA-ACD4-50303B08168A}"/>
                </a:ext>
              </a:extLst>
            </p:cNvPr>
            <p:cNvSpPr>
              <a:spLocks/>
            </p:cNvSpPr>
            <p:nvPr/>
          </p:nvSpPr>
          <p:spPr bwMode="auto">
            <a:xfrm>
              <a:off x="4945063" y="2828926"/>
              <a:ext cx="134938" cy="14288"/>
            </a:xfrm>
            <a:custGeom>
              <a:avLst/>
              <a:gdLst>
                <a:gd name="T0" fmla="*/ 563 w 596"/>
                <a:gd name="T1" fmla="*/ 66 h 66"/>
                <a:gd name="T2" fmla="*/ 33 w 596"/>
                <a:gd name="T3" fmla="*/ 66 h 66"/>
                <a:gd name="T4" fmla="*/ 33 w 596"/>
                <a:gd name="T5" fmla="*/ 66 h 66"/>
                <a:gd name="T6" fmla="*/ 27 w 596"/>
                <a:gd name="T7" fmla="*/ 65 h 66"/>
                <a:gd name="T8" fmla="*/ 21 w 596"/>
                <a:gd name="T9" fmla="*/ 63 h 66"/>
                <a:gd name="T10" fmla="*/ 15 w 596"/>
                <a:gd name="T11" fmla="*/ 60 h 66"/>
                <a:gd name="T12" fmla="*/ 10 w 596"/>
                <a:gd name="T13" fmla="*/ 56 h 66"/>
                <a:gd name="T14" fmla="*/ 6 w 596"/>
                <a:gd name="T15" fmla="*/ 52 h 66"/>
                <a:gd name="T16" fmla="*/ 3 w 596"/>
                <a:gd name="T17" fmla="*/ 46 h 66"/>
                <a:gd name="T18" fmla="*/ 1 w 596"/>
                <a:gd name="T19" fmla="*/ 39 h 66"/>
                <a:gd name="T20" fmla="*/ 0 w 596"/>
                <a:gd name="T21" fmla="*/ 33 h 66"/>
                <a:gd name="T22" fmla="*/ 0 w 596"/>
                <a:gd name="T23" fmla="*/ 33 h 66"/>
                <a:gd name="T24" fmla="*/ 1 w 596"/>
                <a:gd name="T25" fmla="*/ 26 h 66"/>
                <a:gd name="T26" fmla="*/ 3 w 596"/>
                <a:gd name="T27" fmla="*/ 20 h 66"/>
                <a:gd name="T28" fmla="*/ 6 w 596"/>
                <a:gd name="T29" fmla="*/ 15 h 66"/>
                <a:gd name="T30" fmla="*/ 10 w 596"/>
                <a:gd name="T31" fmla="*/ 9 h 66"/>
                <a:gd name="T32" fmla="*/ 15 w 596"/>
                <a:gd name="T33" fmla="*/ 5 h 66"/>
                <a:gd name="T34" fmla="*/ 21 w 596"/>
                <a:gd name="T35" fmla="*/ 2 h 66"/>
                <a:gd name="T36" fmla="*/ 27 w 596"/>
                <a:gd name="T37" fmla="*/ 0 h 66"/>
                <a:gd name="T38" fmla="*/ 33 w 596"/>
                <a:gd name="T39" fmla="*/ 0 h 66"/>
                <a:gd name="T40" fmla="*/ 563 w 596"/>
                <a:gd name="T41" fmla="*/ 0 h 66"/>
                <a:gd name="T42" fmla="*/ 563 w 596"/>
                <a:gd name="T43" fmla="*/ 0 h 66"/>
                <a:gd name="T44" fmla="*/ 570 w 596"/>
                <a:gd name="T45" fmla="*/ 0 h 66"/>
                <a:gd name="T46" fmla="*/ 576 w 596"/>
                <a:gd name="T47" fmla="*/ 2 h 66"/>
                <a:gd name="T48" fmla="*/ 582 w 596"/>
                <a:gd name="T49" fmla="*/ 5 h 66"/>
                <a:gd name="T50" fmla="*/ 587 w 596"/>
                <a:gd name="T51" fmla="*/ 9 h 66"/>
                <a:gd name="T52" fmla="*/ 591 w 596"/>
                <a:gd name="T53" fmla="*/ 15 h 66"/>
                <a:gd name="T54" fmla="*/ 594 w 596"/>
                <a:gd name="T55" fmla="*/ 20 h 66"/>
                <a:gd name="T56" fmla="*/ 596 w 596"/>
                <a:gd name="T57" fmla="*/ 26 h 66"/>
                <a:gd name="T58" fmla="*/ 596 w 596"/>
                <a:gd name="T59" fmla="*/ 33 h 66"/>
                <a:gd name="T60" fmla="*/ 596 w 596"/>
                <a:gd name="T61" fmla="*/ 33 h 66"/>
                <a:gd name="T62" fmla="*/ 596 w 596"/>
                <a:gd name="T63" fmla="*/ 39 h 66"/>
                <a:gd name="T64" fmla="*/ 594 w 596"/>
                <a:gd name="T65" fmla="*/ 46 h 66"/>
                <a:gd name="T66" fmla="*/ 591 w 596"/>
                <a:gd name="T67" fmla="*/ 52 h 66"/>
                <a:gd name="T68" fmla="*/ 587 w 596"/>
                <a:gd name="T69" fmla="*/ 56 h 66"/>
                <a:gd name="T70" fmla="*/ 582 w 596"/>
                <a:gd name="T71" fmla="*/ 60 h 66"/>
                <a:gd name="T72" fmla="*/ 576 w 596"/>
                <a:gd name="T73" fmla="*/ 63 h 66"/>
                <a:gd name="T74" fmla="*/ 570 w 596"/>
                <a:gd name="T75" fmla="*/ 65 h 66"/>
                <a:gd name="T76" fmla="*/ 563 w 596"/>
                <a:gd name="T77" fmla="*/ 66 h 66"/>
                <a:gd name="T78" fmla="*/ 563 w 5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66">
                  <a:moveTo>
                    <a:pt x="563" y="66"/>
                  </a:moveTo>
                  <a:lnTo>
                    <a:pt x="33" y="66"/>
                  </a:lnTo>
                  <a:lnTo>
                    <a:pt x="33" y="66"/>
                  </a:lnTo>
                  <a:lnTo>
                    <a:pt x="27" y="65"/>
                  </a:lnTo>
                  <a:lnTo>
                    <a:pt x="21" y="63"/>
                  </a:lnTo>
                  <a:lnTo>
                    <a:pt x="15" y="60"/>
                  </a:lnTo>
                  <a:lnTo>
                    <a:pt x="10" y="56"/>
                  </a:lnTo>
                  <a:lnTo>
                    <a:pt x="6" y="52"/>
                  </a:lnTo>
                  <a:lnTo>
                    <a:pt x="3" y="46"/>
                  </a:lnTo>
                  <a:lnTo>
                    <a:pt x="1" y="39"/>
                  </a:lnTo>
                  <a:lnTo>
                    <a:pt x="0" y="33"/>
                  </a:lnTo>
                  <a:lnTo>
                    <a:pt x="0" y="33"/>
                  </a:lnTo>
                  <a:lnTo>
                    <a:pt x="1" y="26"/>
                  </a:lnTo>
                  <a:lnTo>
                    <a:pt x="3" y="20"/>
                  </a:lnTo>
                  <a:lnTo>
                    <a:pt x="6" y="15"/>
                  </a:lnTo>
                  <a:lnTo>
                    <a:pt x="10" y="9"/>
                  </a:lnTo>
                  <a:lnTo>
                    <a:pt x="15" y="5"/>
                  </a:lnTo>
                  <a:lnTo>
                    <a:pt x="21" y="2"/>
                  </a:lnTo>
                  <a:lnTo>
                    <a:pt x="27" y="0"/>
                  </a:lnTo>
                  <a:lnTo>
                    <a:pt x="33" y="0"/>
                  </a:lnTo>
                  <a:lnTo>
                    <a:pt x="563" y="0"/>
                  </a:lnTo>
                  <a:lnTo>
                    <a:pt x="563" y="0"/>
                  </a:lnTo>
                  <a:lnTo>
                    <a:pt x="570" y="0"/>
                  </a:lnTo>
                  <a:lnTo>
                    <a:pt x="576" y="2"/>
                  </a:lnTo>
                  <a:lnTo>
                    <a:pt x="582" y="5"/>
                  </a:lnTo>
                  <a:lnTo>
                    <a:pt x="587" y="9"/>
                  </a:lnTo>
                  <a:lnTo>
                    <a:pt x="591" y="15"/>
                  </a:lnTo>
                  <a:lnTo>
                    <a:pt x="594" y="20"/>
                  </a:lnTo>
                  <a:lnTo>
                    <a:pt x="596" y="26"/>
                  </a:lnTo>
                  <a:lnTo>
                    <a:pt x="596" y="33"/>
                  </a:lnTo>
                  <a:lnTo>
                    <a:pt x="596" y="33"/>
                  </a:lnTo>
                  <a:lnTo>
                    <a:pt x="596" y="39"/>
                  </a:lnTo>
                  <a:lnTo>
                    <a:pt x="594" y="46"/>
                  </a:lnTo>
                  <a:lnTo>
                    <a:pt x="591" y="52"/>
                  </a:lnTo>
                  <a:lnTo>
                    <a:pt x="587" y="56"/>
                  </a:lnTo>
                  <a:lnTo>
                    <a:pt x="582" y="60"/>
                  </a:lnTo>
                  <a:lnTo>
                    <a:pt x="576" y="63"/>
                  </a:lnTo>
                  <a:lnTo>
                    <a:pt x="570" y="65"/>
                  </a:lnTo>
                  <a:lnTo>
                    <a:pt x="563" y="66"/>
                  </a:lnTo>
                  <a:lnTo>
                    <a:pt x="5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50" name="Freeform 199">
              <a:extLst>
                <a:ext uri="{FF2B5EF4-FFF2-40B4-BE49-F238E27FC236}">
                  <a16:creationId xmlns:a16="http://schemas.microsoft.com/office/drawing/2014/main" id="{B798BB52-F97E-4B5F-AA42-7450FE1149B1}"/>
                </a:ext>
              </a:extLst>
            </p:cNvPr>
            <p:cNvSpPr>
              <a:spLocks noEditPoints="1"/>
            </p:cNvSpPr>
            <p:nvPr/>
          </p:nvSpPr>
          <p:spPr bwMode="auto">
            <a:xfrm>
              <a:off x="4960938" y="2663826"/>
              <a:ext cx="104775" cy="104775"/>
            </a:xfrm>
            <a:custGeom>
              <a:avLst/>
              <a:gdLst>
                <a:gd name="T0" fmla="*/ 166 w 464"/>
                <a:gd name="T1" fmla="*/ 463 h 463"/>
                <a:gd name="T2" fmla="*/ 147 w 464"/>
                <a:gd name="T3" fmla="*/ 457 h 463"/>
                <a:gd name="T4" fmla="*/ 136 w 464"/>
                <a:gd name="T5" fmla="*/ 442 h 463"/>
                <a:gd name="T6" fmla="*/ 133 w 464"/>
                <a:gd name="T7" fmla="*/ 331 h 463"/>
                <a:gd name="T8" fmla="*/ 27 w 464"/>
                <a:gd name="T9" fmla="*/ 330 h 463"/>
                <a:gd name="T10" fmla="*/ 11 w 464"/>
                <a:gd name="T11" fmla="*/ 320 h 463"/>
                <a:gd name="T12" fmla="*/ 1 w 464"/>
                <a:gd name="T13" fmla="*/ 304 h 463"/>
                <a:gd name="T14" fmla="*/ 0 w 464"/>
                <a:gd name="T15" fmla="*/ 165 h 463"/>
                <a:gd name="T16" fmla="*/ 6 w 464"/>
                <a:gd name="T17" fmla="*/ 147 h 463"/>
                <a:gd name="T18" fmla="*/ 21 w 464"/>
                <a:gd name="T19" fmla="*/ 134 h 463"/>
                <a:gd name="T20" fmla="*/ 133 w 464"/>
                <a:gd name="T21" fmla="*/ 132 h 463"/>
                <a:gd name="T22" fmla="*/ 134 w 464"/>
                <a:gd name="T23" fmla="*/ 26 h 463"/>
                <a:gd name="T24" fmla="*/ 143 w 464"/>
                <a:gd name="T25" fmla="*/ 9 h 463"/>
                <a:gd name="T26" fmla="*/ 160 w 464"/>
                <a:gd name="T27" fmla="*/ 0 h 463"/>
                <a:gd name="T28" fmla="*/ 298 w 464"/>
                <a:gd name="T29" fmla="*/ 0 h 463"/>
                <a:gd name="T30" fmla="*/ 317 w 464"/>
                <a:gd name="T31" fmla="*/ 5 h 463"/>
                <a:gd name="T32" fmla="*/ 329 w 464"/>
                <a:gd name="T33" fmla="*/ 19 h 463"/>
                <a:gd name="T34" fmla="*/ 331 w 464"/>
                <a:gd name="T35" fmla="*/ 132 h 463"/>
                <a:gd name="T36" fmla="*/ 438 w 464"/>
                <a:gd name="T37" fmla="*/ 132 h 463"/>
                <a:gd name="T38" fmla="*/ 455 w 464"/>
                <a:gd name="T39" fmla="*/ 141 h 463"/>
                <a:gd name="T40" fmla="*/ 464 w 464"/>
                <a:gd name="T41" fmla="*/ 158 h 463"/>
                <a:gd name="T42" fmla="*/ 464 w 464"/>
                <a:gd name="T43" fmla="*/ 298 h 463"/>
                <a:gd name="T44" fmla="*/ 459 w 464"/>
                <a:gd name="T45" fmla="*/ 316 h 463"/>
                <a:gd name="T46" fmla="*/ 444 w 464"/>
                <a:gd name="T47" fmla="*/ 328 h 463"/>
                <a:gd name="T48" fmla="*/ 331 w 464"/>
                <a:gd name="T49" fmla="*/ 331 h 463"/>
                <a:gd name="T50" fmla="*/ 331 w 464"/>
                <a:gd name="T51" fmla="*/ 436 h 463"/>
                <a:gd name="T52" fmla="*/ 322 w 464"/>
                <a:gd name="T53" fmla="*/ 453 h 463"/>
                <a:gd name="T54" fmla="*/ 306 w 464"/>
                <a:gd name="T55" fmla="*/ 462 h 463"/>
                <a:gd name="T56" fmla="*/ 199 w 464"/>
                <a:gd name="T57" fmla="*/ 397 h 463"/>
                <a:gd name="T58" fmla="*/ 265 w 464"/>
                <a:gd name="T59" fmla="*/ 298 h 463"/>
                <a:gd name="T60" fmla="*/ 271 w 464"/>
                <a:gd name="T61" fmla="*/ 279 h 463"/>
                <a:gd name="T62" fmla="*/ 286 w 464"/>
                <a:gd name="T63" fmla="*/ 267 h 463"/>
                <a:gd name="T64" fmla="*/ 398 w 464"/>
                <a:gd name="T65" fmla="*/ 265 h 463"/>
                <a:gd name="T66" fmla="*/ 298 w 464"/>
                <a:gd name="T67" fmla="*/ 198 h 463"/>
                <a:gd name="T68" fmla="*/ 280 w 464"/>
                <a:gd name="T69" fmla="*/ 192 h 463"/>
                <a:gd name="T70" fmla="*/ 268 w 464"/>
                <a:gd name="T71" fmla="*/ 178 h 463"/>
                <a:gd name="T72" fmla="*/ 265 w 464"/>
                <a:gd name="T73" fmla="*/ 66 h 463"/>
                <a:gd name="T74" fmla="*/ 199 w 464"/>
                <a:gd name="T75" fmla="*/ 165 h 463"/>
                <a:gd name="T76" fmla="*/ 194 w 464"/>
                <a:gd name="T77" fmla="*/ 184 h 463"/>
                <a:gd name="T78" fmla="*/ 179 w 464"/>
                <a:gd name="T79" fmla="*/ 195 h 463"/>
                <a:gd name="T80" fmla="*/ 67 w 464"/>
                <a:gd name="T81" fmla="*/ 198 h 463"/>
                <a:gd name="T82" fmla="*/ 166 w 464"/>
                <a:gd name="T83" fmla="*/ 265 h 463"/>
                <a:gd name="T84" fmla="*/ 184 w 464"/>
                <a:gd name="T85" fmla="*/ 270 h 463"/>
                <a:gd name="T86" fmla="*/ 197 w 464"/>
                <a:gd name="T87" fmla="*/ 284 h 463"/>
                <a:gd name="T88" fmla="*/ 199 w 464"/>
                <a:gd name="T89" fmla="*/ 39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4" h="463">
                  <a:moveTo>
                    <a:pt x="298" y="463"/>
                  </a:moveTo>
                  <a:lnTo>
                    <a:pt x="166" y="463"/>
                  </a:lnTo>
                  <a:lnTo>
                    <a:pt x="166" y="463"/>
                  </a:lnTo>
                  <a:lnTo>
                    <a:pt x="160" y="462"/>
                  </a:lnTo>
                  <a:lnTo>
                    <a:pt x="153" y="460"/>
                  </a:lnTo>
                  <a:lnTo>
                    <a:pt x="147" y="457"/>
                  </a:lnTo>
                  <a:lnTo>
                    <a:pt x="143" y="453"/>
                  </a:lnTo>
                  <a:lnTo>
                    <a:pt x="139" y="449"/>
                  </a:lnTo>
                  <a:lnTo>
                    <a:pt x="136" y="442"/>
                  </a:lnTo>
                  <a:lnTo>
                    <a:pt x="134" y="436"/>
                  </a:lnTo>
                  <a:lnTo>
                    <a:pt x="133" y="430"/>
                  </a:lnTo>
                  <a:lnTo>
                    <a:pt x="133" y="331"/>
                  </a:lnTo>
                  <a:lnTo>
                    <a:pt x="33" y="331"/>
                  </a:lnTo>
                  <a:lnTo>
                    <a:pt x="33" y="331"/>
                  </a:lnTo>
                  <a:lnTo>
                    <a:pt x="27" y="330"/>
                  </a:lnTo>
                  <a:lnTo>
                    <a:pt x="21" y="328"/>
                  </a:lnTo>
                  <a:lnTo>
                    <a:pt x="15" y="325"/>
                  </a:lnTo>
                  <a:lnTo>
                    <a:pt x="11" y="320"/>
                  </a:lnTo>
                  <a:lnTo>
                    <a:pt x="6" y="316"/>
                  </a:lnTo>
                  <a:lnTo>
                    <a:pt x="3" y="310"/>
                  </a:lnTo>
                  <a:lnTo>
                    <a:pt x="1" y="304"/>
                  </a:lnTo>
                  <a:lnTo>
                    <a:pt x="0" y="298"/>
                  </a:lnTo>
                  <a:lnTo>
                    <a:pt x="0" y="165"/>
                  </a:lnTo>
                  <a:lnTo>
                    <a:pt x="0" y="165"/>
                  </a:lnTo>
                  <a:lnTo>
                    <a:pt x="1" y="158"/>
                  </a:lnTo>
                  <a:lnTo>
                    <a:pt x="3" y="152"/>
                  </a:lnTo>
                  <a:lnTo>
                    <a:pt x="6" y="147"/>
                  </a:lnTo>
                  <a:lnTo>
                    <a:pt x="11" y="141"/>
                  </a:lnTo>
                  <a:lnTo>
                    <a:pt x="15" y="137"/>
                  </a:lnTo>
                  <a:lnTo>
                    <a:pt x="21" y="134"/>
                  </a:lnTo>
                  <a:lnTo>
                    <a:pt x="27" y="132"/>
                  </a:lnTo>
                  <a:lnTo>
                    <a:pt x="33" y="132"/>
                  </a:lnTo>
                  <a:lnTo>
                    <a:pt x="133" y="132"/>
                  </a:lnTo>
                  <a:lnTo>
                    <a:pt x="133" y="33"/>
                  </a:lnTo>
                  <a:lnTo>
                    <a:pt x="133" y="33"/>
                  </a:lnTo>
                  <a:lnTo>
                    <a:pt x="134" y="26"/>
                  </a:lnTo>
                  <a:lnTo>
                    <a:pt x="136" y="19"/>
                  </a:lnTo>
                  <a:lnTo>
                    <a:pt x="139" y="14"/>
                  </a:lnTo>
                  <a:lnTo>
                    <a:pt x="143" y="9"/>
                  </a:lnTo>
                  <a:lnTo>
                    <a:pt x="147" y="5"/>
                  </a:lnTo>
                  <a:lnTo>
                    <a:pt x="153" y="2"/>
                  </a:lnTo>
                  <a:lnTo>
                    <a:pt x="160" y="0"/>
                  </a:lnTo>
                  <a:lnTo>
                    <a:pt x="166" y="0"/>
                  </a:lnTo>
                  <a:lnTo>
                    <a:pt x="298" y="0"/>
                  </a:lnTo>
                  <a:lnTo>
                    <a:pt x="298" y="0"/>
                  </a:lnTo>
                  <a:lnTo>
                    <a:pt x="306" y="0"/>
                  </a:lnTo>
                  <a:lnTo>
                    <a:pt x="312" y="2"/>
                  </a:lnTo>
                  <a:lnTo>
                    <a:pt x="317" y="5"/>
                  </a:lnTo>
                  <a:lnTo>
                    <a:pt x="322" y="9"/>
                  </a:lnTo>
                  <a:lnTo>
                    <a:pt x="326" y="14"/>
                  </a:lnTo>
                  <a:lnTo>
                    <a:pt x="329" y="19"/>
                  </a:lnTo>
                  <a:lnTo>
                    <a:pt x="331" y="26"/>
                  </a:lnTo>
                  <a:lnTo>
                    <a:pt x="331" y="33"/>
                  </a:lnTo>
                  <a:lnTo>
                    <a:pt x="331" y="132"/>
                  </a:lnTo>
                  <a:lnTo>
                    <a:pt x="431" y="132"/>
                  </a:lnTo>
                  <a:lnTo>
                    <a:pt x="431" y="132"/>
                  </a:lnTo>
                  <a:lnTo>
                    <a:pt x="438" y="132"/>
                  </a:lnTo>
                  <a:lnTo>
                    <a:pt x="444" y="134"/>
                  </a:lnTo>
                  <a:lnTo>
                    <a:pt x="449" y="137"/>
                  </a:lnTo>
                  <a:lnTo>
                    <a:pt x="455" y="141"/>
                  </a:lnTo>
                  <a:lnTo>
                    <a:pt x="459" y="147"/>
                  </a:lnTo>
                  <a:lnTo>
                    <a:pt x="462" y="152"/>
                  </a:lnTo>
                  <a:lnTo>
                    <a:pt x="464" y="158"/>
                  </a:lnTo>
                  <a:lnTo>
                    <a:pt x="464" y="165"/>
                  </a:lnTo>
                  <a:lnTo>
                    <a:pt x="464" y="298"/>
                  </a:lnTo>
                  <a:lnTo>
                    <a:pt x="464" y="298"/>
                  </a:lnTo>
                  <a:lnTo>
                    <a:pt x="464" y="304"/>
                  </a:lnTo>
                  <a:lnTo>
                    <a:pt x="462" y="310"/>
                  </a:lnTo>
                  <a:lnTo>
                    <a:pt x="459" y="316"/>
                  </a:lnTo>
                  <a:lnTo>
                    <a:pt x="455" y="320"/>
                  </a:lnTo>
                  <a:lnTo>
                    <a:pt x="449" y="325"/>
                  </a:lnTo>
                  <a:lnTo>
                    <a:pt x="444" y="328"/>
                  </a:lnTo>
                  <a:lnTo>
                    <a:pt x="438" y="330"/>
                  </a:lnTo>
                  <a:lnTo>
                    <a:pt x="431" y="331"/>
                  </a:lnTo>
                  <a:lnTo>
                    <a:pt x="331" y="331"/>
                  </a:lnTo>
                  <a:lnTo>
                    <a:pt x="331" y="430"/>
                  </a:lnTo>
                  <a:lnTo>
                    <a:pt x="331" y="430"/>
                  </a:lnTo>
                  <a:lnTo>
                    <a:pt x="331" y="436"/>
                  </a:lnTo>
                  <a:lnTo>
                    <a:pt x="329" y="442"/>
                  </a:lnTo>
                  <a:lnTo>
                    <a:pt x="326" y="449"/>
                  </a:lnTo>
                  <a:lnTo>
                    <a:pt x="322" y="453"/>
                  </a:lnTo>
                  <a:lnTo>
                    <a:pt x="317" y="457"/>
                  </a:lnTo>
                  <a:lnTo>
                    <a:pt x="312" y="460"/>
                  </a:lnTo>
                  <a:lnTo>
                    <a:pt x="306" y="462"/>
                  </a:lnTo>
                  <a:lnTo>
                    <a:pt x="298" y="463"/>
                  </a:lnTo>
                  <a:lnTo>
                    <a:pt x="298" y="463"/>
                  </a:lnTo>
                  <a:close/>
                  <a:moveTo>
                    <a:pt x="199" y="397"/>
                  </a:moveTo>
                  <a:lnTo>
                    <a:pt x="265" y="397"/>
                  </a:lnTo>
                  <a:lnTo>
                    <a:pt x="265" y="298"/>
                  </a:lnTo>
                  <a:lnTo>
                    <a:pt x="265" y="298"/>
                  </a:lnTo>
                  <a:lnTo>
                    <a:pt x="266" y="290"/>
                  </a:lnTo>
                  <a:lnTo>
                    <a:pt x="268" y="284"/>
                  </a:lnTo>
                  <a:lnTo>
                    <a:pt x="271" y="279"/>
                  </a:lnTo>
                  <a:lnTo>
                    <a:pt x="276" y="274"/>
                  </a:lnTo>
                  <a:lnTo>
                    <a:pt x="280" y="270"/>
                  </a:lnTo>
                  <a:lnTo>
                    <a:pt x="286" y="267"/>
                  </a:lnTo>
                  <a:lnTo>
                    <a:pt x="292" y="265"/>
                  </a:lnTo>
                  <a:lnTo>
                    <a:pt x="298" y="265"/>
                  </a:lnTo>
                  <a:lnTo>
                    <a:pt x="398" y="265"/>
                  </a:lnTo>
                  <a:lnTo>
                    <a:pt x="398" y="198"/>
                  </a:lnTo>
                  <a:lnTo>
                    <a:pt x="298" y="198"/>
                  </a:lnTo>
                  <a:lnTo>
                    <a:pt x="298" y="198"/>
                  </a:lnTo>
                  <a:lnTo>
                    <a:pt x="292" y="197"/>
                  </a:lnTo>
                  <a:lnTo>
                    <a:pt x="286" y="195"/>
                  </a:lnTo>
                  <a:lnTo>
                    <a:pt x="280" y="192"/>
                  </a:lnTo>
                  <a:lnTo>
                    <a:pt x="276" y="188"/>
                  </a:lnTo>
                  <a:lnTo>
                    <a:pt x="271" y="184"/>
                  </a:lnTo>
                  <a:lnTo>
                    <a:pt x="268" y="178"/>
                  </a:lnTo>
                  <a:lnTo>
                    <a:pt x="266" y="171"/>
                  </a:lnTo>
                  <a:lnTo>
                    <a:pt x="265" y="165"/>
                  </a:lnTo>
                  <a:lnTo>
                    <a:pt x="265" y="66"/>
                  </a:lnTo>
                  <a:lnTo>
                    <a:pt x="199" y="66"/>
                  </a:lnTo>
                  <a:lnTo>
                    <a:pt x="199" y="165"/>
                  </a:lnTo>
                  <a:lnTo>
                    <a:pt x="199" y="165"/>
                  </a:lnTo>
                  <a:lnTo>
                    <a:pt x="199" y="171"/>
                  </a:lnTo>
                  <a:lnTo>
                    <a:pt x="197" y="178"/>
                  </a:lnTo>
                  <a:lnTo>
                    <a:pt x="194" y="184"/>
                  </a:lnTo>
                  <a:lnTo>
                    <a:pt x="190" y="188"/>
                  </a:lnTo>
                  <a:lnTo>
                    <a:pt x="184" y="192"/>
                  </a:lnTo>
                  <a:lnTo>
                    <a:pt x="179" y="195"/>
                  </a:lnTo>
                  <a:lnTo>
                    <a:pt x="173" y="197"/>
                  </a:lnTo>
                  <a:lnTo>
                    <a:pt x="166" y="198"/>
                  </a:lnTo>
                  <a:lnTo>
                    <a:pt x="67" y="198"/>
                  </a:lnTo>
                  <a:lnTo>
                    <a:pt x="67" y="265"/>
                  </a:lnTo>
                  <a:lnTo>
                    <a:pt x="166" y="265"/>
                  </a:lnTo>
                  <a:lnTo>
                    <a:pt x="166" y="265"/>
                  </a:lnTo>
                  <a:lnTo>
                    <a:pt x="173" y="265"/>
                  </a:lnTo>
                  <a:lnTo>
                    <a:pt x="179" y="267"/>
                  </a:lnTo>
                  <a:lnTo>
                    <a:pt x="184" y="270"/>
                  </a:lnTo>
                  <a:lnTo>
                    <a:pt x="190" y="274"/>
                  </a:lnTo>
                  <a:lnTo>
                    <a:pt x="194" y="279"/>
                  </a:lnTo>
                  <a:lnTo>
                    <a:pt x="197" y="284"/>
                  </a:lnTo>
                  <a:lnTo>
                    <a:pt x="199" y="290"/>
                  </a:lnTo>
                  <a:lnTo>
                    <a:pt x="199" y="298"/>
                  </a:lnTo>
                  <a:lnTo>
                    <a:pt x="199"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spTree>
    <p:extLst>
      <p:ext uri="{BB962C8B-B14F-4D97-AF65-F5344CB8AC3E}">
        <p14:creationId xmlns:p14="http://schemas.microsoft.com/office/powerpoint/2010/main" val="15634622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E3C78-2418-4660-83C0-7F9297C51492}"/>
              </a:ext>
            </a:extLst>
          </p:cNvPr>
          <p:cNvSpPr>
            <a:spLocks noGrp="1"/>
          </p:cNvSpPr>
          <p:nvPr>
            <p:ph type="title"/>
          </p:nvPr>
        </p:nvSpPr>
        <p:spPr/>
        <p:txBody>
          <a:bodyPr/>
          <a:lstStyle/>
          <a:p>
            <a:r>
              <a:rPr lang="en-US" dirty="0"/>
              <a:t>Review Process </a:t>
            </a:r>
          </a:p>
        </p:txBody>
      </p:sp>
      <p:sp>
        <p:nvSpPr>
          <p:cNvPr id="4" name="Slide Number Placeholder 3">
            <a:extLst>
              <a:ext uri="{FF2B5EF4-FFF2-40B4-BE49-F238E27FC236}">
                <a16:creationId xmlns:a16="http://schemas.microsoft.com/office/drawing/2014/main" id="{2C75C706-23E9-43E4-83DD-79B656B8DF0E}"/>
              </a:ext>
            </a:extLst>
          </p:cNvPr>
          <p:cNvSpPr>
            <a:spLocks noGrp="1"/>
          </p:cNvSpPr>
          <p:nvPr>
            <p:ph type="sldNum" sz="quarter" idx="10"/>
          </p:nvPr>
        </p:nvSpPr>
        <p:spPr>
          <a:xfrm>
            <a:off x="86106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2" name="Rectangle 11">
            <a:extLst>
              <a:ext uri="{FF2B5EF4-FFF2-40B4-BE49-F238E27FC236}">
                <a16:creationId xmlns:a16="http://schemas.microsoft.com/office/drawing/2014/main" id="{F219B056-794E-4A77-AFD5-D1D55F50B4DF}"/>
              </a:ext>
            </a:extLst>
          </p:cNvPr>
          <p:cNvSpPr/>
          <p:nvPr/>
        </p:nvSpPr>
        <p:spPr>
          <a:xfrm>
            <a:off x="0" y="2672169"/>
            <a:ext cx="12192000" cy="2253877"/>
          </a:xfrm>
          <a:prstGeom prst="rect">
            <a:avLst/>
          </a:prstGeom>
          <a:solidFill>
            <a:srgbClr val="F7F7F7"/>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 name="TextBox 7">
            <a:extLst>
              <a:ext uri="{FF2B5EF4-FFF2-40B4-BE49-F238E27FC236}">
                <a16:creationId xmlns:a16="http://schemas.microsoft.com/office/drawing/2014/main" id="{1A6555DA-77B6-4C26-BFAB-A186C9E10BA9}"/>
              </a:ext>
            </a:extLst>
          </p:cNvPr>
          <p:cNvSpPr txBox="1"/>
          <p:nvPr/>
        </p:nvSpPr>
        <p:spPr>
          <a:xfrm>
            <a:off x="1543256" y="2605265"/>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4470448-6831-4696-ACBE-EB276C9CD42C}"/>
              </a:ext>
            </a:extLst>
          </p:cNvPr>
          <p:cNvSpPr txBox="1"/>
          <p:nvPr/>
        </p:nvSpPr>
        <p:spPr>
          <a:xfrm>
            <a:off x="4250046" y="2605265"/>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9AC83C3E-3741-4F03-9C1C-767E6A4CBCC6}"/>
              </a:ext>
            </a:extLst>
          </p:cNvPr>
          <p:cNvSpPr txBox="1"/>
          <p:nvPr/>
        </p:nvSpPr>
        <p:spPr>
          <a:xfrm>
            <a:off x="6956836" y="2605265"/>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8226314E-FAB6-4C65-B51F-F3EEA092F248}"/>
              </a:ext>
            </a:extLst>
          </p:cNvPr>
          <p:cNvSpPr txBox="1"/>
          <p:nvPr/>
        </p:nvSpPr>
        <p:spPr>
          <a:xfrm>
            <a:off x="9663626" y="2605265"/>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EFD17BF3-BBAA-4144-80E5-6F0F9BCA7A5F}"/>
              </a:ext>
            </a:extLst>
          </p:cNvPr>
          <p:cNvSpPr/>
          <p:nvPr/>
        </p:nvSpPr>
        <p:spPr>
          <a:xfrm>
            <a:off x="792193" y="3031522"/>
            <a:ext cx="2395230" cy="1384995"/>
          </a:xfrm>
          <a:prstGeom prst="rect">
            <a:avLst/>
          </a:prstGeom>
        </p:spPr>
        <p:txBody>
          <a:bodyPr wrap="square">
            <a:spAutoFit/>
          </a:bodyPr>
          <a:lstStyle/>
          <a:p>
            <a:pPr marL="0" marR="0" lvl="0" indent="0" algn="ctr" defTabSz="914400" rtl="0" eaLnBrk="0" fontAlgn="base" latinLnBrk="0" hangingPunct="0">
              <a:spcBef>
                <a:spcPct val="0"/>
              </a:spcBef>
              <a:spcAft>
                <a:spcPct val="0"/>
              </a:spcAft>
              <a:buClrTx/>
              <a:buSzTx/>
              <a:buFontTx/>
              <a:buNone/>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HMS reviews the claim and submitted documentation to validate that the setting, services,</a:t>
            </a:r>
            <a:r>
              <a:rPr kumimoji="0" lang="en-US" sz="1400" b="0" i="0" u="none" strike="noStrike" kern="1200" cap="none" spc="0" normalizeH="0" noProof="0" dirty="0">
                <a:ln>
                  <a:noFill/>
                </a:ln>
                <a:solidFill>
                  <a:srgbClr val="68767E"/>
                </a:solidFill>
                <a:effectLst/>
                <a:uLnTx/>
                <a:uFillTx/>
                <a:latin typeface="Arial" charset="0"/>
                <a:ea typeface="+mn-ea"/>
                <a:cs typeface="+mn-cs"/>
              </a:rPr>
              <a:t> </a:t>
            </a:r>
            <a:r>
              <a:rPr kumimoji="0" lang="en-US" sz="1400" b="0" i="0" u="none" strike="noStrike" kern="1200" cap="none" spc="0" normalizeH="0" baseline="0" noProof="0" dirty="0">
                <a:ln>
                  <a:noFill/>
                </a:ln>
                <a:solidFill>
                  <a:srgbClr val="68767E"/>
                </a:solidFill>
                <a:effectLst/>
                <a:uLnTx/>
                <a:uFillTx/>
                <a:latin typeface="Arial" charset="0"/>
                <a:ea typeface="+mn-ea"/>
                <a:cs typeface="+mn-cs"/>
              </a:rPr>
              <a:t>and billing are consistent with the documentation.</a:t>
            </a:r>
          </a:p>
        </p:txBody>
      </p:sp>
      <p:sp>
        <p:nvSpPr>
          <p:cNvPr id="15" name="Rectangle 14">
            <a:extLst>
              <a:ext uri="{FF2B5EF4-FFF2-40B4-BE49-F238E27FC236}">
                <a16:creationId xmlns:a16="http://schemas.microsoft.com/office/drawing/2014/main" id="{D6A3B72C-BB34-47D3-ABF8-14AF90E075D8}"/>
              </a:ext>
            </a:extLst>
          </p:cNvPr>
          <p:cNvSpPr/>
          <p:nvPr/>
        </p:nvSpPr>
        <p:spPr>
          <a:xfrm>
            <a:off x="3498983" y="3031522"/>
            <a:ext cx="2260686" cy="1169551"/>
          </a:xfrm>
          <a:prstGeom prst="rect">
            <a:avLst/>
          </a:prstGeom>
        </p:spPr>
        <p:txBody>
          <a:bodyPr wrap="square">
            <a:spAutoFit/>
          </a:bodyPr>
          <a:lstStyle/>
          <a:p>
            <a:pPr marL="0" marR="0" lvl="0" indent="0" algn="ctr" defTabSz="914400" rtl="0" eaLnBrk="0" fontAlgn="base" latinLnBrk="0" hangingPunct="0">
              <a:spcBef>
                <a:spcPct val="0"/>
              </a:spcBef>
              <a:spcAft>
                <a:spcPct val="0"/>
              </a:spcAft>
              <a:buClrTx/>
              <a:buSzTx/>
              <a:buFontTx/>
              <a:buNone/>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Reviews are conducted by a nurse reviewer</a:t>
            </a:r>
            <a:r>
              <a:rPr lang="en-US" sz="1400" dirty="0">
                <a:solidFill>
                  <a:srgbClr val="68767E"/>
                </a:solidFill>
              </a:rPr>
              <a:t>, </a:t>
            </a:r>
            <a:r>
              <a:rPr kumimoji="0" lang="en-US" sz="1400" b="0" i="0" u="none" strike="noStrike" kern="1200" cap="none" spc="0" normalizeH="0" noProof="0" dirty="0">
                <a:ln>
                  <a:noFill/>
                </a:ln>
                <a:solidFill>
                  <a:srgbClr val="68767E"/>
                </a:solidFill>
                <a:effectLst/>
                <a:uLnTx/>
                <a:uFillTx/>
                <a:latin typeface="Arial" charset="0"/>
                <a:ea typeface="+mn-ea"/>
                <a:cs typeface="+mn-cs"/>
              </a:rPr>
              <a:t>and </a:t>
            </a:r>
            <a:r>
              <a:rPr kumimoji="0" lang="en-US" sz="1400" b="0" i="0" u="none" strike="noStrike" kern="1200" cap="none" spc="0" normalizeH="0" baseline="0" noProof="0" dirty="0">
                <a:ln>
                  <a:noFill/>
                </a:ln>
                <a:solidFill>
                  <a:srgbClr val="68767E"/>
                </a:solidFill>
                <a:effectLst/>
                <a:uLnTx/>
                <a:uFillTx/>
                <a:latin typeface="Arial" charset="0"/>
                <a:ea typeface="+mn-ea"/>
                <a:cs typeface="+mn-cs"/>
              </a:rPr>
              <a:t>clinical </a:t>
            </a:r>
            <a:r>
              <a:rPr lang="en-US" sz="1400" dirty="0">
                <a:solidFill>
                  <a:srgbClr val="68767E"/>
                </a:solidFill>
              </a:rPr>
              <a:t>auditors</a:t>
            </a:r>
            <a:r>
              <a:rPr lang="en-US" sz="1400" noProof="0" dirty="0">
                <a:solidFill>
                  <a:srgbClr val="68767E"/>
                </a:solidFill>
              </a:rPr>
              <a:t> </a:t>
            </a:r>
            <a:r>
              <a:rPr kumimoji="0" lang="en-US" sz="1400" b="0" i="0" u="none" strike="noStrike" kern="1200" cap="none" spc="0" normalizeH="0" baseline="0" noProof="0" dirty="0">
                <a:ln>
                  <a:noFill/>
                </a:ln>
                <a:solidFill>
                  <a:srgbClr val="68767E"/>
                </a:solidFill>
                <a:effectLst/>
                <a:uLnTx/>
                <a:uFillTx/>
                <a:latin typeface="Arial" charset="0"/>
                <a:ea typeface="+mn-ea"/>
                <a:cs typeface="+mn-cs"/>
              </a:rPr>
              <a:t>under the direction of HMS medical directors. </a:t>
            </a:r>
          </a:p>
        </p:txBody>
      </p:sp>
      <p:sp>
        <p:nvSpPr>
          <p:cNvPr id="16" name="Rectangle 15">
            <a:extLst>
              <a:ext uri="{FF2B5EF4-FFF2-40B4-BE49-F238E27FC236}">
                <a16:creationId xmlns:a16="http://schemas.microsoft.com/office/drawing/2014/main" id="{A5BDA789-F35C-4C55-B10F-7FB44E0D8CAB}"/>
              </a:ext>
            </a:extLst>
          </p:cNvPr>
          <p:cNvSpPr/>
          <p:nvPr/>
        </p:nvSpPr>
        <p:spPr>
          <a:xfrm>
            <a:off x="6205773" y="3031522"/>
            <a:ext cx="2395230" cy="1785104"/>
          </a:xfrm>
          <a:prstGeom prst="rect">
            <a:avLst/>
          </a:prstGeom>
        </p:spPr>
        <p:txBody>
          <a:bodyPr wrap="square">
            <a:spAutoFit/>
          </a:bodyPr>
          <a:lstStyle/>
          <a:p>
            <a:pPr lvl="0" algn="ctr">
              <a:defRPr/>
            </a:pPr>
            <a:r>
              <a:rPr lang="en-US" sz="1400" dirty="0"/>
              <a:t> HMS reviews the claim(s) and submitted documentation to ensure that the level of care and services billed are consistent with the documentation.</a:t>
            </a:r>
            <a:endParaRPr lang="en-US" sz="1400" dirty="0">
              <a:solidFill>
                <a:srgbClr val="68767E"/>
              </a:solidFill>
            </a:endParaRPr>
          </a:p>
          <a:p>
            <a:pPr marL="0" marR="0" lvl="0" indent="0" algn="ctr" defTabSz="914400" rtl="0" eaLnBrk="0" fontAlgn="base" latinLnBrk="0" hangingPunct="0">
              <a:spcBef>
                <a:spcPct val="0"/>
              </a:spcBef>
              <a:spcAft>
                <a:spcPct val="0"/>
              </a:spcAft>
              <a:buClrTx/>
              <a:buSzTx/>
              <a:buFontTx/>
              <a:buNone/>
              <a:tabLst/>
              <a:defRPr/>
            </a:pPr>
            <a:r>
              <a:rPr kumimoji="0" lang="en-US" sz="1200" b="0" i="0" u="none" strike="noStrike" kern="1200" cap="none" spc="0" normalizeH="0" baseline="0" noProof="0" dirty="0">
                <a:ln>
                  <a:noFill/>
                </a:ln>
                <a:solidFill>
                  <a:srgbClr val="68767E"/>
                </a:solidFill>
                <a:effectLst/>
                <a:uLnTx/>
                <a:uFillTx/>
                <a:latin typeface="Arial" charset="0"/>
                <a:ea typeface="+mn-ea"/>
                <a:cs typeface="+mn-cs"/>
              </a:rPr>
              <a:t> </a:t>
            </a:r>
          </a:p>
        </p:txBody>
      </p:sp>
      <p:sp>
        <p:nvSpPr>
          <p:cNvPr id="17" name="Rectangle 16">
            <a:extLst>
              <a:ext uri="{FF2B5EF4-FFF2-40B4-BE49-F238E27FC236}">
                <a16:creationId xmlns:a16="http://schemas.microsoft.com/office/drawing/2014/main" id="{8F1699EA-70AF-4F99-AFB1-09AC2F132C24}"/>
              </a:ext>
            </a:extLst>
          </p:cNvPr>
          <p:cNvSpPr/>
          <p:nvPr/>
        </p:nvSpPr>
        <p:spPr>
          <a:xfrm>
            <a:off x="8803436" y="3031522"/>
            <a:ext cx="2726412" cy="1384995"/>
          </a:xfrm>
          <a:prstGeom prst="rect">
            <a:avLst/>
          </a:prstGeom>
        </p:spPr>
        <p:txBody>
          <a:bodyPr wrap="square">
            <a:spAutoFit/>
          </a:bodyPr>
          <a:lstStyle/>
          <a:p>
            <a:pPr algn="ctr">
              <a:defRPr/>
            </a:pPr>
            <a:r>
              <a:rPr lang="en-US" sz="1400" dirty="0">
                <a:solidFill>
                  <a:srgbClr val="68767E"/>
                </a:solidFill>
              </a:rPr>
              <a:t>Final approval and agreement of any overpayment starts when the Department approves the notice and HMS has 60 mails out the notice once an overpayment was determined </a:t>
            </a:r>
            <a:endParaRPr kumimoji="0" lang="en-US" sz="1200" b="0" i="0" u="none" strike="noStrike" kern="1200" cap="none" spc="0" normalizeH="0" baseline="0" noProof="0" dirty="0">
              <a:ln>
                <a:noFill/>
              </a:ln>
              <a:solidFill>
                <a:srgbClr val="68767E"/>
              </a:solidFill>
              <a:effectLst/>
              <a:uLnTx/>
              <a:uFillTx/>
              <a:latin typeface="Arial" charset="0"/>
              <a:ea typeface="+mn-ea"/>
              <a:cs typeface="+mn-cs"/>
            </a:endParaRPr>
          </a:p>
        </p:txBody>
      </p:sp>
      <p:grpSp>
        <p:nvGrpSpPr>
          <p:cNvPr id="18" name="Group 17">
            <a:extLst>
              <a:ext uri="{FF2B5EF4-FFF2-40B4-BE49-F238E27FC236}">
                <a16:creationId xmlns:a16="http://schemas.microsoft.com/office/drawing/2014/main" id="{02D868BA-8170-4D22-96F3-677BDD85DC2E}"/>
              </a:ext>
            </a:extLst>
          </p:cNvPr>
          <p:cNvGrpSpPr/>
          <p:nvPr/>
        </p:nvGrpSpPr>
        <p:grpSpPr>
          <a:xfrm>
            <a:off x="1789663" y="4701731"/>
            <a:ext cx="400291" cy="66866"/>
            <a:chOff x="3240835" y="2447766"/>
            <a:chExt cx="400291" cy="66866"/>
          </a:xfrm>
        </p:grpSpPr>
        <p:sp>
          <p:nvSpPr>
            <p:cNvPr id="19" name="Oval 18">
              <a:extLst>
                <a:ext uri="{FF2B5EF4-FFF2-40B4-BE49-F238E27FC236}">
                  <a16:creationId xmlns:a16="http://schemas.microsoft.com/office/drawing/2014/main" id="{DBCAC187-8338-4D77-93BE-D04904F0F271}"/>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65E1CF81-9F18-4274-BD19-91C2DBDC957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1" name="Oval 20">
              <a:extLst>
                <a:ext uri="{FF2B5EF4-FFF2-40B4-BE49-F238E27FC236}">
                  <a16:creationId xmlns:a16="http://schemas.microsoft.com/office/drawing/2014/main" id="{87FA79CF-C07E-4E5A-BE37-1EF168FDBD4D}"/>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2" name="Group 21">
            <a:extLst>
              <a:ext uri="{FF2B5EF4-FFF2-40B4-BE49-F238E27FC236}">
                <a16:creationId xmlns:a16="http://schemas.microsoft.com/office/drawing/2014/main" id="{EABA9620-71B4-4C65-B6FB-200F872A7D20}"/>
              </a:ext>
            </a:extLst>
          </p:cNvPr>
          <p:cNvGrpSpPr/>
          <p:nvPr/>
        </p:nvGrpSpPr>
        <p:grpSpPr>
          <a:xfrm>
            <a:off x="4496453" y="4701731"/>
            <a:ext cx="400291" cy="66866"/>
            <a:chOff x="3240835" y="2447766"/>
            <a:chExt cx="400291" cy="66866"/>
          </a:xfrm>
        </p:grpSpPr>
        <p:sp>
          <p:nvSpPr>
            <p:cNvPr id="23" name="Oval 22">
              <a:extLst>
                <a:ext uri="{FF2B5EF4-FFF2-40B4-BE49-F238E27FC236}">
                  <a16:creationId xmlns:a16="http://schemas.microsoft.com/office/drawing/2014/main" id="{D4C95F36-DCB2-4563-BA48-35CBEFAFE8EB}"/>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F2245BF2-514D-40A6-AA5E-0AD97E3A6A2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5" name="Oval 24">
              <a:extLst>
                <a:ext uri="{FF2B5EF4-FFF2-40B4-BE49-F238E27FC236}">
                  <a16:creationId xmlns:a16="http://schemas.microsoft.com/office/drawing/2014/main" id="{C6AD111F-3ABE-4CAF-B825-65349FB3D60F}"/>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6" name="Group 25">
            <a:extLst>
              <a:ext uri="{FF2B5EF4-FFF2-40B4-BE49-F238E27FC236}">
                <a16:creationId xmlns:a16="http://schemas.microsoft.com/office/drawing/2014/main" id="{05692386-5B14-4F61-B68A-E9581D81E170}"/>
              </a:ext>
            </a:extLst>
          </p:cNvPr>
          <p:cNvGrpSpPr/>
          <p:nvPr/>
        </p:nvGrpSpPr>
        <p:grpSpPr>
          <a:xfrm>
            <a:off x="7203243" y="4701731"/>
            <a:ext cx="400291" cy="66866"/>
            <a:chOff x="3240835" y="2447766"/>
            <a:chExt cx="400291" cy="66866"/>
          </a:xfrm>
        </p:grpSpPr>
        <p:sp>
          <p:nvSpPr>
            <p:cNvPr id="27" name="Oval 26">
              <a:extLst>
                <a:ext uri="{FF2B5EF4-FFF2-40B4-BE49-F238E27FC236}">
                  <a16:creationId xmlns:a16="http://schemas.microsoft.com/office/drawing/2014/main" id="{FB0FE872-CD32-42AE-BF79-01F63E03E000}"/>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2FD2AD64-C038-4901-8DEF-855ABB1F8210}"/>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Oval 28">
              <a:extLst>
                <a:ext uri="{FF2B5EF4-FFF2-40B4-BE49-F238E27FC236}">
                  <a16:creationId xmlns:a16="http://schemas.microsoft.com/office/drawing/2014/main" id="{EB8AB79F-2073-4CB4-9D84-7FE740FEB418}"/>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30" name="Group 29">
            <a:extLst>
              <a:ext uri="{FF2B5EF4-FFF2-40B4-BE49-F238E27FC236}">
                <a16:creationId xmlns:a16="http://schemas.microsoft.com/office/drawing/2014/main" id="{6ABFE372-DB30-4AE3-B074-125A732437F8}"/>
              </a:ext>
            </a:extLst>
          </p:cNvPr>
          <p:cNvGrpSpPr/>
          <p:nvPr/>
        </p:nvGrpSpPr>
        <p:grpSpPr>
          <a:xfrm>
            <a:off x="9910033" y="4701731"/>
            <a:ext cx="400291" cy="66866"/>
            <a:chOff x="3240835" y="2447766"/>
            <a:chExt cx="400291" cy="66866"/>
          </a:xfrm>
        </p:grpSpPr>
        <p:sp>
          <p:nvSpPr>
            <p:cNvPr id="31" name="Oval 30">
              <a:extLst>
                <a:ext uri="{FF2B5EF4-FFF2-40B4-BE49-F238E27FC236}">
                  <a16:creationId xmlns:a16="http://schemas.microsoft.com/office/drawing/2014/main" id="{E57B481D-4956-4D16-B59B-006CAA85E6CA}"/>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2" name="Oval 31">
              <a:extLst>
                <a:ext uri="{FF2B5EF4-FFF2-40B4-BE49-F238E27FC236}">
                  <a16:creationId xmlns:a16="http://schemas.microsoft.com/office/drawing/2014/main" id="{408A45D7-D79F-4BFE-97DF-CC68C1CF3E8C}"/>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3" name="Oval 32">
              <a:extLst>
                <a:ext uri="{FF2B5EF4-FFF2-40B4-BE49-F238E27FC236}">
                  <a16:creationId xmlns:a16="http://schemas.microsoft.com/office/drawing/2014/main" id="{A17D61D8-AFDB-44E7-8C89-E65661E6845A}"/>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sp>
        <p:nvSpPr>
          <p:cNvPr id="3" name="Rectangle 2">
            <a:extLst>
              <a:ext uri="{FF2B5EF4-FFF2-40B4-BE49-F238E27FC236}">
                <a16:creationId xmlns:a16="http://schemas.microsoft.com/office/drawing/2014/main" id="{21DB9822-39F7-43D6-91C5-ADB06E272B4C}"/>
              </a:ext>
            </a:extLst>
          </p:cNvPr>
          <p:cNvSpPr/>
          <p:nvPr/>
        </p:nvSpPr>
        <p:spPr>
          <a:xfrm>
            <a:off x="0" y="5083495"/>
            <a:ext cx="12192000" cy="824032"/>
          </a:xfrm>
          <a:prstGeom prst="rect">
            <a:avLst/>
          </a:prstGeom>
          <a:solidFill>
            <a:schemeClr val="tx2"/>
          </a:solidFill>
        </p:spPr>
        <p:txBody>
          <a:bodyPr lIns="914400" rIns="914400" rtlCol="0" anchor="ctr">
            <a:noAutofit/>
          </a:bodyPr>
          <a:lstStyle/>
          <a:p>
            <a:pPr lvl="0" algn="ctr">
              <a:defRPr/>
            </a:pPr>
            <a:r>
              <a:rPr lang="en-US" sz="1600" b="1" dirty="0">
                <a:solidFill>
                  <a:schemeClr val="bg1"/>
                </a:solidFill>
              </a:rPr>
              <a:t>The findings from this analysis are reported to Health First Colorado, along with recommendations </a:t>
            </a:r>
            <a:br>
              <a:rPr lang="en-US" sz="1600" b="1" dirty="0">
                <a:solidFill>
                  <a:schemeClr val="bg1"/>
                </a:solidFill>
              </a:rPr>
            </a:br>
            <a:r>
              <a:rPr lang="en-US" sz="1600" b="1" dirty="0">
                <a:solidFill>
                  <a:schemeClr val="bg1"/>
                </a:solidFill>
              </a:rPr>
              <a:t>regarding proper payment of the claim.</a:t>
            </a:r>
          </a:p>
        </p:txBody>
      </p:sp>
      <p:sp>
        <p:nvSpPr>
          <p:cNvPr id="6" name="TextBox 5">
            <a:extLst>
              <a:ext uri="{FF2B5EF4-FFF2-40B4-BE49-F238E27FC236}">
                <a16:creationId xmlns:a16="http://schemas.microsoft.com/office/drawing/2014/main" id="{1098DEBA-A124-B94B-A90D-8E997E5FBE94}"/>
              </a:ext>
            </a:extLst>
          </p:cNvPr>
          <p:cNvSpPr txBox="1"/>
          <p:nvPr/>
        </p:nvSpPr>
        <p:spPr>
          <a:xfrm>
            <a:off x="838199" y="1227997"/>
            <a:ext cx="9238545" cy="707886"/>
          </a:xfrm>
          <a:prstGeom prst="rect">
            <a:avLst/>
          </a:prstGeom>
          <a:noFill/>
        </p:spPr>
        <p:txBody>
          <a:bodyPr wrap="square" rtlCol="0">
            <a:spAutoFit/>
          </a:bodyPr>
          <a:lstStyle/>
          <a:p>
            <a:r>
              <a:rPr lang="en-US" sz="2000" dirty="0">
                <a:solidFill>
                  <a:schemeClr val="accent2"/>
                </a:solidFill>
              </a:rPr>
              <a:t>After we receive the requested medical records, one of our experienced clinical reviewers will perform an in-depth review of the submitted documentation. </a:t>
            </a:r>
          </a:p>
        </p:txBody>
      </p:sp>
      <p:sp>
        <p:nvSpPr>
          <p:cNvPr id="34" name="Footer Placeholder 3">
            <a:extLst>
              <a:ext uri="{FF2B5EF4-FFF2-40B4-BE49-F238E27FC236}">
                <a16:creationId xmlns:a16="http://schemas.microsoft.com/office/drawing/2014/main" id="{8E1E9666-5240-D84A-9D5E-FA70F8D0C130}"/>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828800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547A2D0-229B-490A-9EF0-EAE081A165C8}"/>
              </a:ext>
            </a:extLst>
          </p:cNvPr>
          <p:cNvGrpSpPr/>
          <p:nvPr/>
        </p:nvGrpSpPr>
        <p:grpSpPr>
          <a:xfrm>
            <a:off x="1352201" y="2003741"/>
            <a:ext cx="393639" cy="393640"/>
            <a:chOff x="4891088" y="771525"/>
            <a:chExt cx="287337" cy="287338"/>
          </a:xfrm>
          <a:solidFill>
            <a:schemeClr val="accent4"/>
          </a:solidFill>
        </p:grpSpPr>
        <p:sp>
          <p:nvSpPr>
            <p:cNvPr id="20" name="Freeform 108">
              <a:extLst>
                <a:ext uri="{FF2B5EF4-FFF2-40B4-BE49-F238E27FC236}">
                  <a16:creationId xmlns:a16="http://schemas.microsoft.com/office/drawing/2014/main" id="{4F89809E-DAFB-495E-91D3-67A3AA01DA9B}"/>
                </a:ext>
              </a:extLst>
            </p:cNvPr>
            <p:cNvSpPr>
              <a:spLocks noEditPoints="1"/>
            </p:cNvSpPr>
            <p:nvPr/>
          </p:nvSpPr>
          <p:spPr bwMode="auto">
            <a:xfrm>
              <a:off x="4949825" y="857250"/>
              <a:ext cx="171450" cy="125413"/>
            </a:xfrm>
            <a:custGeom>
              <a:avLst/>
              <a:gdLst>
                <a:gd name="T0" fmla="*/ 30 w 541"/>
                <a:gd name="T1" fmla="*/ 61 h 392"/>
                <a:gd name="T2" fmla="*/ 32 w 541"/>
                <a:gd name="T3" fmla="*/ 52 h 392"/>
                <a:gd name="T4" fmla="*/ 40 w 541"/>
                <a:gd name="T5" fmla="*/ 41 h 392"/>
                <a:gd name="T6" fmla="*/ 53 w 541"/>
                <a:gd name="T7" fmla="*/ 33 h 392"/>
                <a:gd name="T8" fmla="*/ 67 w 541"/>
                <a:gd name="T9" fmla="*/ 30 h 392"/>
                <a:gd name="T10" fmla="*/ 466 w 541"/>
                <a:gd name="T11" fmla="*/ 30 h 392"/>
                <a:gd name="T12" fmla="*/ 477 w 541"/>
                <a:gd name="T13" fmla="*/ 31 h 392"/>
                <a:gd name="T14" fmla="*/ 492 w 541"/>
                <a:gd name="T15" fmla="*/ 34 h 392"/>
                <a:gd name="T16" fmla="*/ 506 w 541"/>
                <a:gd name="T17" fmla="*/ 44 h 392"/>
                <a:gd name="T18" fmla="*/ 509 w 541"/>
                <a:gd name="T19" fmla="*/ 52 h 392"/>
                <a:gd name="T20" fmla="*/ 511 w 541"/>
                <a:gd name="T21" fmla="*/ 60 h 392"/>
                <a:gd name="T22" fmla="*/ 510 w 541"/>
                <a:gd name="T23" fmla="*/ 336 h 392"/>
                <a:gd name="T24" fmla="*/ 508 w 541"/>
                <a:gd name="T25" fmla="*/ 344 h 392"/>
                <a:gd name="T26" fmla="*/ 499 w 541"/>
                <a:gd name="T27" fmla="*/ 353 h 392"/>
                <a:gd name="T28" fmla="*/ 484 w 541"/>
                <a:gd name="T29" fmla="*/ 359 h 392"/>
                <a:gd name="T30" fmla="*/ 471 w 541"/>
                <a:gd name="T31" fmla="*/ 361 h 392"/>
                <a:gd name="T32" fmla="*/ 75 w 541"/>
                <a:gd name="T33" fmla="*/ 361 h 392"/>
                <a:gd name="T34" fmla="*/ 59 w 541"/>
                <a:gd name="T35" fmla="*/ 359 h 392"/>
                <a:gd name="T36" fmla="*/ 44 w 541"/>
                <a:gd name="T37" fmla="*/ 354 h 392"/>
                <a:gd name="T38" fmla="*/ 33 w 541"/>
                <a:gd name="T39" fmla="*/ 345 h 392"/>
                <a:gd name="T40" fmla="*/ 30 w 541"/>
                <a:gd name="T41" fmla="*/ 333 h 392"/>
                <a:gd name="T42" fmla="*/ 0 w 541"/>
                <a:gd name="T43" fmla="*/ 333 h 392"/>
                <a:gd name="T44" fmla="*/ 1 w 541"/>
                <a:gd name="T45" fmla="*/ 345 h 392"/>
                <a:gd name="T46" fmla="*/ 5 w 541"/>
                <a:gd name="T47" fmla="*/ 356 h 392"/>
                <a:gd name="T48" fmla="*/ 12 w 541"/>
                <a:gd name="T49" fmla="*/ 367 h 392"/>
                <a:gd name="T50" fmla="*/ 20 w 541"/>
                <a:gd name="T51" fmla="*/ 375 h 392"/>
                <a:gd name="T52" fmla="*/ 31 w 541"/>
                <a:gd name="T53" fmla="*/ 382 h 392"/>
                <a:gd name="T54" fmla="*/ 44 w 541"/>
                <a:gd name="T55" fmla="*/ 387 h 392"/>
                <a:gd name="T56" fmla="*/ 59 w 541"/>
                <a:gd name="T57" fmla="*/ 390 h 392"/>
                <a:gd name="T58" fmla="*/ 75 w 541"/>
                <a:gd name="T59" fmla="*/ 392 h 392"/>
                <a:gd name="T60" fmla="*/ 474 w 541"/>
                <a:gd name="T61" fmla="*/ 392 h 392"/>
                <a:gd name="T62" fmla="*/ 490 w 541"/>
                <a:gd name="T63" fmla="*/ 389 h 392"/>
                <a:gd name="T64" fmla="*/ 504 w 541"/>
                <a:gd name="T65" fmla="*/ 385 h 392"/>
                <a:gd name="T66" fmla="*/ 516 w 541"/>
                <a:gd name="T67" fmla="*/ 379 h 392"/>
                <a:gd name="T68" fmla="*/ 525 w 541"/>
                <a:gd name="T69" fmla="*/ 371 h 392"/>
                <a:gd name="T70" fmla="*/ 533 w 541"/>
                <a:gd name="T71" fmla="*/ 361 h 392"/>
                <a:gd name="T72" fmla="*/ 538 w 541"/>
                <a:gd name="T73" fmla="*/ 350 h 392"/>
                <a:gd name="T74" fmla="*/ 540 w 541"/>
                <a:gd name="T75" fmla="*/ 338 h 392"/>
                <a:gd name="T76" fmla="*/ 541 w 541"/>
                <a:gd name="T77" fmla="*/ 60 h 392"/>
                <a:gd name="T78" fmla="*/ 540 w 541"/>
                <a:gd name="T79" fmla="*/ 47 h 392"/>
                <a:gd name="T80" fmla="*/ 536 w 541"/>
                <a:gd name="T81" fmla="*/ 36 h 392"/>
                <a:gd name="T82" fmla="*/ 530 w 541"/>
                <a:gd name="T83" fmla="*/ 26 h 392"/>
                <a:gd name="T84" fmla="*/ 520 w 541"/>
                <a:gd name="T85" fmla="*/ 17 h 392"/>
                <a:gd name="T86" fmla="*/ 509 w 541"/>
                <a:gd name="T87" fmla="*/ 10 h 392"/>
                <a:gd name="T88" fmla="*/ 496 w 541"/>
                <a:gd name="T89" fmla="*/ 4 h 392"/>
                <a:gd name="T90" fmla="*/ 482 w 541"/>
                <a:gd name="T91" fmla="*/ 1 h 392"/>
                <a:gd name="T92" fmla="*/ 466 w 541"/>
                <a:gd name="T93" fmla="*/ 0 h 392"/>
                <a:gd name="T94" fmla="*/ 66 w 541"/>
                <a:gd name="T95" fmla="*/ 0 h 392"/>
                <a:gd name="T96" fmla="*/ 51 w 541"/>
                <a:gd name="T97" fmla="*/ 3 h 392"/>
                <a:gd name="T98" fmla="*/ 37 w 541"/>
                <a:gd name="T99" fmla="*/ 8 h 392"/>
                <a:gd name="T100" fmla="*/ 26 w 541"/>
                <a:gd name="T101" fmla="*/ 14 h 392"/>
                <a:gd name="T102" fmla="*/ 15 w 541"/>
                <a:gd name="T103" fmla="*/ 23 h 392"/>
                <a:gd name="T104" fmla="*/ 7 w 541"/>
                <a:gd name="T105" fmla="*/ 33 h 392"/>
                <a:gd name="T106" fmla="*/ 2 w 541"/>
                <a:gd name="T107" fmla="*/ 46 h 392"/>
                <a:gd name="T108" fmla="*/ 0 w 541"/>
                <a:gd name="T109" fmla="*/ 59 h 392"/>
                <a:gd name="T110" fmla="*/ 0 w 541"/>
                <a:gd name="T111" fmla="*/ 333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1" h="392">
                  <a:moveTo>
                    <a:pt x="30" y="67"/>
                  </a:moveTo>
                  <a:lnTo>
                    <a:pt x="30" y="61"/>
                  </a:lnTo>
                  <a:lnTo>
                    <a:pt x="31" y="56"/>
                  </a:lnTo>
                  <a:lnTo>
                    <a:pt x="32" y="52"/>
                  </a:lnTo>
                  <a:lnTo>
                    <a:pt x="34" y="47"/>
                  </a:lnTo>
                  <a:lnTo>
                    <a:pt x="40" y="41"/>
                  </a:lnTo>
                  <a:lnTo>
                    <a:pt x="46" y="37"/>
                  </a:lnTo>
                  <a:lnTo>
                    <a:pt x="53" y="33"/>
                  </a:lnTo>
                  <a:lnTo>
                    <a:pt x="61" y="31"/>
                  </a:lnTo>
                  <a:lnTo>
                    <a:pt x="67" y="30"/>
                  </a:lnTo>
                  <a:lnTo>
                    <a:pt x="75" y="30"/>
                  </a:lnTo>
                  <a:lnTo>
                    <a:pt x="466" y="30"/>
                  </a:lnTo>
                  <a:lnTo>
                    <a:pt x="471" y="30"/>
                  </a:lnTo>
                  <a:lnTo>
                    <a:pt x="477" y="31"/>
                  </a:lnTo>
                  <a:lnTo>
                    <a:pt x="484" y="32"/>
                  </a:lnTo>
                  <a:lnTo>
                    <a:pt x="492" y="34"/>
                  </a:lnTo>
                  <a:lnTo>
                    <a:pt x="499" y="39"/>
                  </a:lnTo>
                  <a:lnTo>
                    <a:pt x="506" y="44"/>
                  </a:lnTo>
                  <a:lnTo>
                    <a:pt x="508" y="47"/>
                  </a:lnTo>
                  <a:lnTo>
                    <a:pt x="509" y="52"/>
                  </a:lnTo>
                  <a:lnTo>
                    <a:pt x="510" y="56"/>
                  </a:lnTo>
                  <a:lnTo>
                    <a:pt x="511" y="60"/>
                  </a:lnTo>
                  <a:lnTo>
                    <a:pt x="511" y="331"/>
                  </a:lnTo>
                  <a:lnTo>
                    <a:pt x="510" y="336"/>
                  </a:lnTo>
                  <a:lnTo>
                    <a:pt x="509" y="340"/>
                  </a:lnTo>
                  <a:lnTo>
                    <a:pt x="508" y="344"/>
                  </a:lnTo>
                  <a:lnTo>
                    <a:pt x="506" y="348"/>
                  </a:lnTo>
                  <a:lnTo>
                    <a:pt x="499" y="353"/>
                  </a:lnTo>
                  <a:lnTo>
                    <a:pt x="492" y="357"/>
                  </a:lnTo>
                  <a:lnTo>
                    <a:pt x="484" y="359"/>
                  </a:lnTo>
                  <a:lnTo>
                    <a:pt x="477" y="360"/>
                  </a:lnTo>
                  <a:lnTo>
                    <a:pt x="471" y="361"/>
                  </a:lnTo>
                  <a:lnTo>
                    <a:pt x="466" y="361"/>
                  </a:lnTo>
                  <a:lnTo>
                    <a:pt x="75" y="361"/>
                  </a:lnTo>
                  <a:lnTo>
                    <a:pt x="66" y="360"/>
                  </a:lnTo>
                  <a:lnTo>
                    <a:pt x="59" y="359"/>
                  </a:lnTo>
                  <a:lnTo>
                    <a:pt x="51" y="357"/>
                  </a:lnTo>
                  <a:lnTo>
                    <a:pt x="44" y="354"/>
                  </a:lnTo>
                  <a:lnTo>
                    <a:pt x="38" y="351"/>
                  </a:lnTo>
                  <a:lnTo>
                    <a:pt x="33" y="345"/>
                  </a:lnTo>
                  <a:lnTo>
                    <a:pt x="31" y="340"/>
                  </a:lnTo>
                  <a:lnTo>
                    <a:pt x="30" y="333"/>
                  </a:lnTo>
                  <a:lnTo>
                    <a:pt x="30" y="67"/>
                  </a:lnTo>
                  <a:close/>
                  <a:moveTo>
                    <a:pt x="0" y="333"/>
                  </a:moveTo>
                  <a:lnTo>
                    <a:pt x="0" y="339"/>
                  </a:lnTo>
                  <a:lnTo>
                    <a:pt x="1" y="345"/>
                  </a:lnTo>
                  <a:lnTo>
                    <a:pt x="3" y="351"/>
                  </a:lnTo>
                  <a:lnTo>
                    <a:pt x="5" y="356"/>
                  </a:lnTo>
                  <a:lnTo>
                    <a:pt x="8" y="361"/>
                  </a:lnTo>
                  <a:lnTo>
                    <a:pt x="12" y="367"/>
                  </a:lnTo>
                  <a:lnTo>
                    <a:pt x="16" y="371"/>
                  </a:lnTo>
                  <a:lnTo>
                    <a:pt x="20" y="375"/>
                  </a:lnTo>
                  <a:lnTo>
                    <a:pt x="26" y="379"/>
                  </a:lnTo>
                  <a:lnTo>
                    <a:pt x="31" y="382"/>
                  </a:lnTo>
                  <a:lnTo>
                    <a:pt x="37" y="385"/>
                  </a:lnTo>
                  <a:lnTo>
                    <a:pt x="44" y="387"/>
                  </a:lnTo>
                  <a:lnTo>
                    <a:pt x="51" y="389"/>
                  </a:lnTo>
                  <a:lnTo>
                    <a:pt x="59" y="390"/>
                  </a:lnTo>
                  <a:lnTo>
                    <a:pt x="66" y="392"/>
                  </a:lnTo>
                  <a:lnTo>
                    <a:pt x="75" y="392"/>
                  </a:lnTo>
                  <a:lnTo>
                    <a:pt x="466" y="392"/>
                  </a:lnTo>
                  <a:lnTo>
                    <a:pt x="474" y="392"/>
                  </a:lnTo>
                  <a:lnTo>
                    <a:pt x="482" y="390"/>
                  </a:lnTo>
                  <a:lnTo>
                    <a:pt x="490" y="389"/>
                  </a:lnTo>
                  <a:lnTo>
                    <a:pt x="496" y="387"/>
                  </a:lnTo>
                  <a:lnTo>
                    <a:pt x="504" y="385"/>
                  </a:lnTo>
                  <a:lnTo>
                    <a:pt x="509" y="382"/>
                  </a:lnTo>
                  <a:lnTo>
                    <a:pt x="516" y="379"/>
                  </a:lnTo>
                  <a:lnTo>
                    <a:pt x="520" y="374"/>
                  </a:lnTo>
                  <a:lnTo>
                    <a:pt x="525" y="371"/>
                  </a:lnTo>
                  <a:lnTo>
                    <a:pt x="530" y="366"/>
                  </a:lnTo>
                  <a:lnTo>
                    <a:pt x="533" y="361"/>
                  </a:lnTo>
                  <a:lnTo>
                    <a:pt x="536" y="356"/>
                  </a:lnTo>
                  <a:lnTo>
                    <a:pt x="538" y="350"/>
                  </a:lnTo>
                  <a:lnTo>
                    <a:pt x="540" y="344"/>
                  </a:lnTo>
                  <a:lnTo>
                    <a:pt x="540" y="338"/>
                  </a:lnTo>
                  <a:lnTo>
                    <a:pt x="541" y="331"/>
                  </a:lnTo>
                  <a:lnTo>
                    <a:pt x="541" y="60"/>
                  </a:lnTo>
                  <a:lnTo>
                    <a:pt x="540" y="54"/>
                  </a:lnTo>
                  <a:lnTo>
                    <a:pt x="540" y="47"/>
                  </a:lnTo>
                  <a:lnTo>
                    <a:pt x="538" y="42"/>
                  </a:lnTo>
                  <a:lnTo>
                    <a:pt x="536" y="36"/>
                  </a:lnTo>
                  <a:lnTo>
                    <a:pt x="533" y="30"/>
                  </a:lnTo>
                  <a:lnTo>
                    <a:pt x="530" y="26"/>
                  </a:lnTo>
                  <a:lnTo>
                    <a:pt x="525" y="21"/>
                  </a:lnTo>
                  <a:lnTo>
                    <a:pt x="520" y="17"/>
                  </a:lnTo>
                  <a:lnTo>
                    <a:pt x="516" y="13"/>
                  </a:lnTo>
                  <a:lnTo>
                    <a:pt x="509" y="10"/>
                  </a:lnTo>
                  <a:lnTo>
                    <a:pt x="504" y="7"/>
                  </a:lnTo>
                  <a:lnTo>
                    <a:pt x="496" y="4"/>
                  </a:lnTo>
                  <a:lnTo>
                    <a:pt x="490" y="2"/>
                  </a:lnTo>
                  <a:lnTo>
                    <a:pt x="482" y="1"/>
                  </a:lnTo>
                  <a:lnTo>
                    <a:pt x="474" y="0"/>
                  </a:lnTo>
                  <a:lnTo>
                    <a:pt x="466" y="0"/>
                  </a:lnTo>
                  <a:lnTo>
                    <a:pt x="75" y="0"/>
                  </a:lnTo>
                  <a:lnTo>
                    <a:pt x="66" y="0"/>
                  </a:lnTo>
                  <a:lnTo>
                    <a:pt x="59" y="1"/>
                  </a:lnTo>
                  <a:lnTo>
                    <a:pt x="51" y="3"/>
                  </a:lnTo>
                  <a:lnTo>
                    <a:pt x="44" y="4"/>
                  </a:lnTo>
                  <a:lnTo>
                    <a:pt x="37" y="8"/>
                  </a:lnTo>
                  <a:lnTo>
                    <a:pt x="31" y="11"/>
                  </a:lnTo>
                  <a:lnTo>
                    <a:pt x="26" y="14"/>
                  </a:lnTo>
                  <a:lnTo>
                    <a:pt x="20" y="18"/>
                  </a:lnTo>
                  <a:lnTo>
                    <a:pt x="15" y="23"/>
                  </a:lnTo>
                  <a:lnTo>
                    <a:pt x="12" y="28"/>
                  </a:lnTo>
                  <a:lnTo>
                    <a:pt x="7" y="33"/>
                  </a:lnTo>
                  <a:lnTo>
                    <a:pt x="5" y="40"/>
                  </a:lnTo>
                  <a:lnTo>
                    <a:pt x="2" y="46"/>
                  </a:lnTo>
                  <a:lnTo>
                    <a:pt x="1" y="53"/>
                  </a:lnTo>
                  <a:lnTo>
                    <a:pt x="0" y="59"/>
                  </a:lnTo>
                  <a:lnTo>
                    <a:pt x="0" y="67"/>
                  </a:lnTo>
                  <a:lnTo>
                    <a:pt x="0" y="3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109">
              <a:extLst>
                <a:ext uri="{FF2B5EF4-FFF2-40B4-BE49-F238E27FC236}">
                  <a16:creationId xmlns:a16="http://schemas.microsoft.com/office/drawing/2014/main" id="{576460C7-33ED-44CB-8DD1-8939DAD4710E}"/>
                </a:ext>
              </a:extLst>
            </p:cNvPr>
            <p:cNvSpPr>
              <a:spLocks/>
            </p:cNvSpPr>
            <p:nvPr/>
          </p:nvSpPr>
          <p:spPr bwMode="auto">
            <a:xfrm>
              <a:off x="4973638" y="885825"/>
              <a:ext cx="123825" cy="71438"/>
            </a:xfrm>
            <a:custGeom>
              <a:avLst/>
              <a:gdLst>
                <a:gd name="T0" fmla="*/ 20 w 391"/>
                <a:gd name="T1" fmla="*/ 225 h 226"/>
                <a:gd name="T2" fmla="*/ 138 w 391"/>
                <a:gd name="T3" fmla="*/ 124 h 226"/>
                <a:gd name="T4" fmla="*/ 191 w 391"/>
                <a:gd name="T5" fmla="*/ 165 h 226"/>
                <a:gd name="T6" fmla="*/ 200 w 391"/>
                <a:gd name="T7" fmla="*/ 165 h 226"/>
                <a:gd name="T8" fmla="*/ 253 w 391"/>
                <a:gd name="T9" fmla="*/ 124 h 226"/>
                <a:gd name="T10" fmla="*/ 371 w 391"/>
                <a:gd name="T11" fmla="*/ 225 h 226"/>
                <a:gd name="T12" fmla="*/ 379 w 391"/>
                <a:gd name="T13" fmla="*/ 225 h 226"/>
                <a:gd name="T14" fmla="*/ 385 w 391"/>
                <a:gd name="T15" fmla="*/ 223 h 226"/>
                <a:gd name="T16" fmla="*/ 389 w 391"/>
                <a:gd name="T17" fmla="*/ 219 h 226"/>
                <a:gd name="T18" fmla="*/ 391 w 391"/>
                <a:gd name="T19" fmla="*/ 214 h 226"/>
                <a:gd name="T20" fmla="*/ 390 w 391"/>
                <a:gd name="T21" fmla="*/ 207 h 226"/>
                <a:gd name="T22" fmla="*/ 388 w 391"/>
                <a:gd name="T23" fmla="*/ 202 h 226"/>
                <a:gd name="T24" fmla="*/ 277 w 391"/>
                <a:gd name="T25" fmla="*/ 104 h 226"/>
                <a:gd name="T26" fmla="*/ 372 w 391"/>
                <a:gd name="T27" fmla="*/ 25 h 226"/>
                <a:gd name="T28" fmla="*/ 375 w 391"/>
                <a:gd name="T29" fmla="*/ 20 h 226"/>
                <a:gd name="T30" fmla="*/ 376 w 391"/>
                <a:gd name="T31" fmla="*/ 14 h 226"/>
                <a:gd name="T32" fmla="*/ 374 w 391"/>
                <a:gd name="T33" fmla="*/ 9 h 226"/>
                <a:gd name="T34" fmla="*/ 370 w 391"/>
                <a:gd name="T35" fmla="*/ 3 h 226"/>
                <a:gd name="T36" fmla="*/ 366 w 391"/>
                <a:gd name="T37" fmla="*/ 1 h 226"/>
                <a:gd name="T38" fmla="*/ 359 w 391"/>
                <a:gd name="T39" fmla="*/ 0 h 226"/>
                <a:gd name="T40" fmla="*/ 354 w 391"/>
                <a:gd name="T41" fmla="*/ 2 h 226"/>
                <a:gd name="T42" fmla="*/ 195 w 391"/>
                <a:gd name="T43" fmla="*/ 132 h 226"/>
                <a:gd name="T44" fmla="*/ 36 w 391"/>
                <a:gd name="T45" fmla="*/ 2 h 226"/>
                <a:gd name="T46" fmla="*/ 31 w 391"/>
                <a:gd name="T47" fmla="*/ 0 h 226"/>
                <a:gd name="T48" fmla="*/ 26 w 391"/>
                <a:gd name="T49" fmla="*/ 1 h 226"/>
                <a:gd name="T50" fmla="*/ 20 w 391"/>
                <a:gd name="T51" fmla="*/ 3 h 226"/>
                <a:gd name="T52" fmla="*/ 16 w 391"/>
                <a:gd name="T53" fmla="*/ 9 h 226"/>
                <a:gd name="T54" fmla="*/ 15 w 391"/>
                <a:gd name="T55" fmla="*/ 14 h 226"/>
                <a:gd name="T56" fmla="*/ 15 w 391"/>
                <a:gd name="T57" fmla="*/ 20 h 226"/>
                <a:gd name="T58" fmla="*/ 18 w 391"/>
                <a:gd name="T59" fmla="*/ 25 h 226"/>
                <a:gd name="T60" fmla="*/ 115 w 391"/>
                <a:gd name="T61" fmla="*/ 104 h 226"/>
                <a:gd name="T62" fmla="*/ 3 w 391"/>
                <a:gd name="T63" fmla="*/ 202 h 226"/>
                <a:gd name="T64" fmla="*/ 0 w 391"/>
                <a:gd name="T65" fmla="*/ 207 h 226"/>
                <a:gd name="T66" fmla="*/ 0 w 391"/>
                <a:gd name="T67" fmla="*/ 214 h 226"/>
                <a:gd name="T68" fmla="*/ 2 w 391"/>
                <a:gd name="T69" fmla="*/ 219 h 226"/>
                <a:gd name="T70" fmla="*/ 6 w 391"/>
                <a:gd name="T71" fmla="*/ 223 h 226"/>
                <a:gd name="T72" fmla="*/ 12 w 391"/>
                <a:gd name="T73"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1" h="226">
                  <a:moveTo>
                    <a:pt x="15" y="226"/>
                  </a:moveTo>
                  <a:lnTo>
                    <a:pt x="20" y="225"/>
                  </a:lnTo>
                  <a:lnTo>
                    <a:pt x="25" y="222"/>
                  </a:lnTo>
                  <a:lnTo>
                    <a:pt x="138" y="124"/>
                  </a:lnTo>
                  <a:lnTo>
                    <a:pt x="185" y="162"/>
                  </a:lnTo>
                  <a:lnTo>
                    <a:pt x="191" y="165"/>
                  </a:lnTo>
                  <a:lnTo>
                    <a:pt x="195" y="166"/>
                  </a:lnTo>
                  <a:lnTo>
                    <a:pt x="200" y="165"/>
                  </a:lnTo>
                  <a:lnTo>
                    <a:pt x="205" y="162"/>
                  </a:lnTo>
                  <a:lnTo>
                    <a:pt x="253" y="124"/>
                  </a:lnTo>
                  <a:lnTo>
                    <a:pt x="366" y="222"/>
                  </a:lnTo>
                  <a:lnTo>
                    <a:pt x="371" y="225"/>
                  </a:lnTo>
                  <a:lnTo>
                    <a:pt x="376" y="226"/>
                  </a:lnTo>
                  <a:lnTo>
                    <a:pt x="379" y="225"/>
                  </a:lnTo>
                  <a:lnTo>
                    <a:pt x="382" y="225"/>
                  </a:lnTo>
                  <a:lnTo>
                    <a:pt x="385" y="223"/>
                  </a:lnTo>
                  <a:lnTo>
                    <a:pt x="387" y="221"/>
                  </a:lnTo>
                  <a:lnTo>
                    <a:pt x="389" y="219"/>
                  </a:lnTo>
                  <a:lnTo>
                    <a:pt x="390" y="216"/>
                  </a:lnTo>
                  <a:lnTo>
                    <a:pt x="391" y="214"/>
                  </a:lnTo>
                  <a:lnTo>
                    <a:pt x="391" y="210"/>
                  </a:lnTo>
                  <a:lnTo>
                    <a:pt x="390" y="207"/>
                  </a:lnTo>
                  <a:lnTo>
                    <a:pt x="389" y="205"/>
                  </a:lnTo>
                  <a:lnTo>
                    <a:pt x="388" y="202"/>
                  </a:lnTo>
                  <a:lnTo>
                    <a:pt x="386" y="200"/>
                  </a:lnTo>
                  <a:lnTo>
                    <a:pt x="277" y="104"/>
                  </a:lnTo>
                  <a:lnTo>
                    <a:pt x="370" y="27"/>
                  </a:lnTo>
                  <a:lnTo>
                    <a:pt x="372" y="25"/>
                  </a:lnTo>
                  <a:lnTo>
                    <a:pt x="374" y="23"/>
                  </a:lnTo>
                  <a:lnTo>
                    <a:pt x="375" y="20"/>
                  </a:lnTo>
                  <a:lnTo>
                    <a:pt x="376" y="17"/>
                  </a:lnTo>
                  <a:lnTo>
                    <a:pt x="376" y="14"/>
                  </a:lnTo>
                  <a:lnTo>
                    <a:pt x="375" y="11"/>
                  </a:lnTo>
                  <a:lnTo>
                    <a:pt x="374" y="9"/>
                  </a:lnTo>
                  <a:lnTo>
                    <a:pt x="372" y="6"/>
                  </a:lnTo>
                  <a:lnTo>
                    <a:pt x="370" y="3"/>
                  </a:lnTo>
                  <a:lnTo>
                    <a:pt x="368" y="2"/>
                  </a:lnTo>
                  <a:lnTo>
                    <a:pt x="366" y="1"/>
                  </a:lnTo>
                  <a:lnTo>
                    <a:pt x="362" y="0"/>
                  </a:lnTo>
                  <a:lnTo>
                    <a:pt x="359" y="0"/>
                  </a:lnTo>
                  <a:lnTo>
                    <a:pt x="357" y="1"/>
                  </a:lnTo>
                  <a:lnTo>
                    <a:pt x="354" y="2"/>
                  </a:lnTo>
                  <a:lnTo>
                    <a:pt x="352" y="3"/>
                  </a:lnTo>
                  <a:lnTo>
                    <a:pt x="195" y="132"/>
                  </a:lnTo>
                  <a:lnTo>
                    <a:pt x="40" y="3"/>
                  </a:lnTo>
                  <a:lnTo>
                    <a:pt x="36" y="2"/>
                  </a:lnTo>
                  <a:lnTo>
                    <a:pt x="34" y="1"/>
                  </a:lnTo>
                  <a:lnTo>
                    <a:pt x="31" y="0"/>
                  </a:lnTo>
                  <a:lnTo>
                    <a:pt x="28" y="0"/>
                  </a:lnTo>
                  <a:lnTo>
                    <a:pt x="26" y="1"/>
                  </a:lnTo>
                  <a:lnTo>
                    <a:pt x="22" y="2"/>
                  </a:lnTo>
                  <a:lnTo>
                    <a:pt x="20" y="3"/>
                  </a:lnTo>
                  <a:lnTo>
                    <a:pt x="18" y="6"/>
                  </a:lnTo>
                  <a:lnTo>
                    <a:pt x="16" y="9"/>
                  </a:lnTo>
                  <a:lnTo>
                    <a:pt x="15" y="11"/>
                  </a:lnTo>
                  <a:lnTo>
                    <a:pt x="15" y="14"/>
                  </a:lnTo>
                  <a:lnTo>
                    <a:pt x="15" y="17"/>
                  </a:lnTo>
                  <a:lnTo>
                    <a:pt x="15" y="20"/>
                  </a:lnTo>
                  <a:lnTo>
                    <a:pt x="16" y="23"/>
                  </a:lnTo>
                  <a:lnTo>
                    <a:pt x="18" y="25"/>
                  </a:lnTo>
                  <a:lnTo>
                    <a:pt x="20" y="27"/>
                  </a:lnTo>
                  <a:lnTo>
                    <a:pt x="115" y="104"/>
                  </a:lnTo>
                  <a:lnTo>
                    <a:pt x="5" y="200"/>
                  </a:lnTo>
                  <a:lnTo>
                    <a:pt x="3" y="202"/>
                  </a:lnTo>
                  <a:lnTo>
                    <a:pt x="1" y="205"/>
                  </a:lnTo>
                  <a:lnTo>
                    <a:pt x="0" y="207"/>
                  </a:lnTo>
                  <a:lnTo>
                    <a:pt x="0" y="210"/>
                  </a:lnTo>
                  <a:lnTo>
                    <a:pt x="0" y="214"/>
                  </a:lnTo>
                  <a:lnTo>
                    <a:pt x="1" y="216"/>
                  </a:lnTo>
                  <a:lnTo>
                    <a:pt x="2" y="219"/>
                  </a:lnTo>
                  <a:lnTo>
                    <a:pt x="3" y="221"/>
                  </a:lnTo>
                  <a:lnTo>
                    <a:pt x="6" y="223"/>
                  </a:lnTo>
                  <a:lnTo>
                    <a:pt x="8" y="225"/>
                  </a:lnTo>
                  <a:lnTo>
                    <a:pt x="12" y="225"/>
                  </a:lnTo>
                  <a:lnTo>
                    <a:pt x="15" y="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10">
              <a:extLst>
                <a:ext uri="{FF2B5EF4-FFF2-40B4-BE49-F238E27FC236}">
                  <a16:creationId xmlns:a16="http://schemas.microsoft.com/office/drawing/2014/main" id="{7AAF966B-C6E4-47B3-A21B-2B22BFE10BA5}"/>
                </a:ext>
              </a:extLst>
            </p:cNvPr>
            <p:cNvSpPr>
              <a:spLocks/>
            </p:cNvSpPr>
            <p:nvPr/>
          </p:nvSpPr>
          <p:spPr bwMode="auto">
            <a:xfrm>
              <a:off x="4956175" y="771525"/>
              <a:ext cx="158750" cy="31750"/>
            </a:xfrm>
            <a:custGeom>
              <a:avLst/>
              <a:gdLst>
                <a:gd name="T0" fmla="*/ 20 w 499"/>
                <a:gd name="T1" fmla="*/ 98 h 98"/>
                <a:gd name="T2" fmla="*/ 50 w 499"/>
                <a:gd name="T3" fmla="*/ 80 h 98"/>
                <a:gd name="T4" fmla="*/ 103 w 499"/>
                <a:gd name="T5" fmla="*/ 56 h 98"/>
                <a:gd name="T6" fmla="*/ 160 w 499"/>
                <a:gd name="T7" fmla="*/ 39 h 98"/>
                <a:gd name="T8" fmla="*/ 219 w 499"/>
                <a:gd name="T9" fmla="*/ 31 h 98"/>
                <a:gd name="T10" fmla="*/ 279 w 499"/>
                <a:gd name="T11" fmla="*/ 31 h 98"/>
                <a:gd name="T12" fmla="*/ 338 w 499"/>
                <a:gd name="T13" fmla="*/ 39 h 98"/>
                <a:gd name="T14" fmla="*/ 395 w 499"/>
                <a:gd name="T15" fmla="*/ 56 h 98"/>
                <a:gd name="T16" fmla="*/ 450 w 499"/>
                <a:gd name="T17" fmla="*/ 80 h 98"/>
                <a:gd name="T18" fmla="*/ 478 w 499"/>
                <a:gd name="T19" fmla="*/ 96 h 98"/>
                <a:gd name="T20" fmla="*/ 484 w 499"/>
                <a:gd name="T21" fmla="*/ 98 h 98"/>
                <a:gd name="T22" fmla="*/ 489 w 499"/>
                <a:gd name="T23" fmla="*/ 96 h 98"/>
                <a:gd name="T24" fmla="*/ 495 w 499"/>
                <a:gd name="T25" fmla="*/ 93 h 98"/>
                <a:gd name="T26" fmla="*/ 498 w 499"/>
                <a:gd name="T27" fmla="*/ 88 h 98"/>
                <a:gd name="T28" fmla="*/ 499 w 499"/>
                <a:gd name="T29" fmla="*/ 83 h 98"/>
                <a:gd name="T30" fmla="*/ 497 w 499"/>
                <a:gd name="T31" fmla="*/ 77 h 98"/>
                <a:gd name="T32" fmla="*/ 494 w 499"/>
                <a:gd name="T33" fmla="*/ 72 h 98"/>
                <a:gd name="T34" fmla="*/ 477 w 499"/>
                <a:gd name="T35" fmla="*/ 62 h 98"/>
                <a:gd name="T36" fmla="*/ 450 w 499"/>
                <a:gd name="T37" fmla="*/ 46 h 98"/>
                <a:gd name="T38" fmla="*/ 421 w 499"/>
                <a:gd name="T39" fmla="*/ 33 h 98"/>
                <a:gd name="T40" fmla="*/ 391 w 499"/>
                <a:gd name="T41" fmla="*/ 22 h 98"/>
                <a:gd name="T42" fmla="*/ 361 w 499"/>
                <a:gd name="T43" fmla="*/ 13 h 98"/>
                <a:gd name="T44" fmla="*/ 329 w 499"/>
                <a:gd name="T45" fmla="*/ 6 h 98"/>
                <a:gd name="T46" fmla="*/ 297 w 499"/>
                <a:gd name="T47" fmla="*/ 2 h 98"/>
                <a:gd name="T48" fmla="*/ 265 w 499"/>
                <a:gd name="T49" fmla="*/ 0 h 98"/>
                <a:gd name="T50" fmla="*/ 233 w 499"/>
                <a:gd name="T51" fmla="*/ 0 h 98"/>
                <a:gd name="T52" fmla="*/ 201 w 499"/>
                <a:gd name="T53" fmla="*/ 2 h 98"/>
                <a:gd name="T54" fmla="*/ 170 w 499"/>
                <a:gd name="T55" fmla="*/ 6 h 98"/>
                <a:gd name="T56" fmla="*/ 139 w 499"/>
                <a:gd name="T57" fmla="*/ 13 h 98"/>
                <a:gd name="T58" fmla="*/ 108 w 499"/>
                <a:gd name="T59" fmla="*/ 22 h 98"/>
                <a:gd name="T60" fmla="*/ 79 w 499"/>
                <a:gd name="T61" fmla="*/ 33 h 98"/>
                <a:gd name="T62" fmla="*/ 49 w 499"/>
                <a:gd name="T63" fmla="*/ 46 h 98"/>
                <a:gd name="T64" fmla="*/ 21 w 499"/>
                <a:gd name="T65" fmla="*/ 62 h 98"/>
                <a:gd name="T66" fmla="*/ 5 w 499"/>
                <a:gd name="T67" fmla="*/ 72 h 98"/>
                <a:gd name="T68" fmla="*/ 1 w 499"/>
                <a:gd name="T69" fmla="*/ 77 h 98"/>
                <a:gd name="T70" fmla="*/ 0 w 499"/>
                <a:gd name="T71" fmla="*/ 83 h 98"/>
                <a:gd name="T72" fmla="*/ 1 w 499"/>
                <a:gd name="T73" fmla="*/ 88 h 98"/>
                <a:gd name="T74" fmla="*/ 5 w 499"/>
                <a:gd name="T75" fmla="*/ 93 h 98"/>
                <a:gd name="T76" fmla="*/ 12 w 499"/>
                <a:gd name="T7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99" h="98">
                  <a:moveTo>
                    <a:pt x="15" y="98"/>
                  </a:moveTo>
                  <a:lnTo>
                    <a:pt x="20" y="98"/>
                  </a:lnTo>
                  <a:lnTo>
                    <a:pt x="24" y="95"/>
                  </a:lnTo>
                  <a:lnTo>
                    <a:pt x="50" y="80"/>
                  </a:lnTo>
                  <a:lnTo>
                    <a:pt x="76" y="66"/>
                  </a:lnTo>
                  <a:lnTo>
                    <a:pt x="103" y="56"/>
                  </a:lnTo>
                  <a:lnTo>
                    <a:pt x="131" y="46"/>
                  </a:lnTo>
                  <a:lnTo>
                    <a:pt x="160" y="39"/>
                  </a:lnTo>
                  <a:lnTo>
                    <a:pt x="190" y="34"/>
                  </a:lnTo>
                  <a:lnTo>
                    <a:pt x="219" y="31"/>
                  </a:lnTo>
                  <a:lnTo>
                    <a:pt x="249" y="30"/>
                  </a:lnTo>
                  <a:lnTo>
                    <a:pt x="279" y="31"/>
                  </a:lnTo>
                  <a:lnTo>
                    <a:pt x="309" y="34"/>
                  </a:lnTo>
                  <a:lnTo>
                    <a:pt x="338" y="39"/>
                  </a:lnTo>
                  <a:lnTo>
                    <a:pt x="367" y="46"/>
                  </a:lnTo>
                  <a:lnTo>
                    <a:pt x="395" y="56"/>
                  </a:lnTo>
                  <a:lnTo>
                    <a:pt x="423" y="66"/>
                  </a:lnTo>
                  <a:lnTo>
                    <a:pt x="450" y="80"/>
                  </a:lnTo>
                  <a:lnTo>
                    <a:pt x="475" y="95"/>
                  </a:lnTo>
                  <a:lnTo>
                    <a:pt x="478" y="96"/>
                  </a:lnTo>
                  <a:lnTo>
                    <a:pt x="481" y="98"/>
                  </a:lnTo>
                  <a:lnTo>
                    <a:pt x="484" y="98"/>
                  </a:lnTo>
                  <a:lnTo>
                    <a:pt x="487" y="98"/>
                  </a:lnTo>
                  <a:lnTo>
                    <a:pt x="489" y="96"/>
                  </a:lnTo>
                  <a:lnTo>
                    <a:pt x="491" y="95"/>
                  </a:lnTo>
                  <a:lnTo>
                    <a:pt x="495" y="93"/>
                  </a:lnTo>
                  <a:lnTo>
                    <a:pt x="496" y="91"/>
                  </a:lnTo>
                  <a:lnTo>
                    <a:pt x="498" y="88"/>
                  </a:lnTo>
                  <a:lnTo>
                    <a:pt x="498" y="85"/>
                  </a:lnTo>
                  <a:lnTo>
                    <a:pt x="499" y="83"/>
                  </a:lnTo>
                  <a:lnTo>
                    <a:pt x="498" y="79"/>
                  </a:lnTo>
                  <a:lnTo>
                    <a:pt x="497" y="77"/>
                  </a:lnTo>
                  <a:lnTo>
                    <a:pt x="496" y="74"/>
                  </a:lnTo>
                  <a:lnTo>
                    <a:pt x="494" y="72"/>
                  </a:lnTo>
                  <a:lnTo>
                    <a:pt x="491" y="70"/>
                  </a:lnTo>
                  <a:lnTo>
                    <a:pt x="477" y="62"/>
                  </a:lnTo>
                  <a:lnTo>
                    <a:pt x="463" y="54"/>
                  </a:lnTo>
                  <a:lnTo>
                    <a:pt x="450" y="46"/>
                  </a:lnTo>
                  <a:lnTo>
                    <a:pt x="436" y="40"/>
                  </a:lnTo>
                  <a:lnTo>
                    <a:pt x="421" y="33"/>
                  </a:lnTo>
                  <a:lnTo>
                    <a:pt x="406" y="28"/>
                  </a:lnTo>
                  <a:lnTo>
                    <a:pt x="391" y="22"/>
                  </a:lnTo>
                  <a:lnTo>
                    <a:pt x="376" y="17"/>
                  </a:lnTo>
                  <a:lnTo>
                    <a:pt x="361" y="13"/>
                  </a:lnTo>
                  <a:lnTo>
                    <a:pt x="344" y="10"/>
                  </a:lnTo>
                  <a:lnTo>
                    <a:pt x="329" y="6"/>
                  </a:lnTo>
                  <a:lnTo>
                    <a:pt x="313" y="4"/>
                  </a:lnTo>
                  <a:lnTo>
                    <a:pt x="297" y="2"/>
                  </a:lnTo>
                  <a:lnTo>
                    <a:pt x="281" y="1"/>
                  </a:lnTo>
                  <a:lnTo>
                    <a:pt x="265" y="0"/>
                  </a:lnTo>
                  <a:lnTo>
                    <a:pt x="249" y="0"/>
                  </a:lnTo>
                  <a:lnTo>
                    <a:pt x="233" y="0"/>
                  </a:lnTo>
                  <a:lnTo>
                    <a:pt x="217" y="1"/>
                  </a:lnTo>
                  <a:lnTo>
                    <a:pt x="201" y="2"/>
                  </a:lnTo>
                  <a:lnTo>
                    <a:pt x="186" y="4"/>
                  </a:lnTo>
                  <a:lnTo>
                    <a:pt x="170" y="6"/>
                  </a:lnTo>
                  <a:lnTo>
                    <a:pt x="154" y="10"/>
                  </a:lnTo>
                  <a:lnTo>
                    <a:pt x="139" y="13"/>
                  </a:lnTo>
                  <a:lnTo>
                    <a:pt x="124" y="17"/>
                  </a:lnTo>
                  <a:lnTo>
                    <a:pt x="108" y="22"/>
                  </a:lnTo>
                  <a:lnTo>
                    <a:pt x="93" y="28"/>
                  </a:lnTo>
                  <a:lnTo>
                    <a:pt x="79" y="33"/>
                  </a:lnTo>
                  <a:lnTo>
                    <a:pt x="64" y="40"/>
                  </a:lnTo>
                  <a:lnTo>
                    <a:pt x="49" y="46"/>
                  </a:lnTo>
                  <a:lnTo>
                    <a:pt x="35" y="54"/>
                  </a:lnTo>
                  <a:lnTo>
                    <a:pt x="21" y="62"/>
                  </a:lnTo>
                  <a:lnTo>
                    <a:pt x="7" y="70"/>
                  </a:lnTo>
                  <a:lnTo>
                    <a:pt x="5" y="72"/>
                  </a:lnTo>
                  <a:lnTo>
                    <a:pt x="2" y="74"/>
                  </a:lnTo>
                  <a:lnTo>
                    <a:pt x="1" y="77"/>
                  </a:lnTo>
                  <a:lnTo>
                    <a:pt x="0" y="79"/>
                  </a:lnTo>
                  <a:lnTo>
                    <a:pt x="0" y="83"/>
                  </a:lnTo>
                  <a:lnTo>
                    <a:pt x="0" y="85"/>
                  </a:lnTo>
                  <a:lnTo>
                    <a:pt x="1" y="88"/>
                  </a:lnTo>
                  <a:lnTo>
                    <a:pt x="2" y="91"/>
                  </a:lnTo>
                  <a:lnTo>
                    <a:pt x="5" y="93"/>
                  </a:lnTo>
                  <a:lnTo>
                    <a:pt x="8" y="95"/>
                  </a:lnTo>
                  <a:lnTo>
                    <a:pt x="12" y="98"/>
                  </a:lnTo>
                  <a:lnTo>
                    <a:pt x="15"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11">
              <a:extLst>
                <a:ext uri="{FF2B5EF4-FFF2-40B4-BE49-F238E27FC236}">
                  <a16:creationId xmlns:a16="http://schemas.microsoft.com/office/drawing/2014/main" id="{49869C6E-A2D0-4993-BF14-B46D18CFE8B1}"/>
                </a:ext>
              </a:extLst>
            </p:cNvPr>
            <p:cNvSpPr>
              <a:spLocks/>
            </p:cNvSpPr>
            <p:nvPr/>
          </p:nvSpPr>
          <p:spPr bwMode="auto">
            <a:xfrm>
              <a:off x="5146675" y="836613"/>
              <a:ext cx="31750" cy="157163"/>
            </a:xfrm>
            <a:custGeom>
              <a:avLst/>
              <a:gdLst>
                <a:gd name="T0" fmla="*/ 11 w 97"/>
                <a:gd name="T1" fmla="*/ 497 h 498"/>
                <a:gd name="T2" fmla="*/ 18 w 97"/>
                <a:gd name="T3" fmla="*/ 497 h 498"/>
                <a:gd name="T4" fmla="*/ 25 w 97"/>
                <a:gd name="T5" fmla="*/ 494 h 498"/>
                <a:gd name="T6" fmla="*/ 35 w 97"/>
                <a:gd name="T7" fmla="*/ 478 h 498"/>
                <a:gd name="T8" fmla="*/ 50 w 97"/>
                <a:gd name="T9" fmla="*/ 449 h 498"/>
                <a:gd name="T10" fmla="*/ 64 w 97"/>
                <a:gd name="T11" fmla="*/ 420 h 498"/>
                <a:gd name="T12" fmla="*/ 75 w 97"/>
                <a:gd name="T13" fmla="*/ 390 h 498"/>
                <a:gd name="T14" fmla="*/ 83 w 97"/>
                <a:gd name="T15" fmla="*/ 360 h 498"/>
                <a:gd name="T16" fmla="*/ 91 w 97"/>
                <a:gd name="T17" fmla="*/ 329 h 498"/>
                <a:gd name="T18" fmla="*/ 95 w 97"/>
                <a:gd name="T19" fmla="*/ 297 h 498"/>
                <a:gd name="T20" fmla="*/ 97 w 97"/>
                <a:gd name="T21" fmla="*/ 265 h 498"/>
                <a:gd name="T22" fmla="*/ 97 w 97"/>
                <a:gd name="T23" fmla="*/ 232 h 498"/>
                <a:gd name="T24" fmla="*/ 95 w 97"/>
                <a:gd name="T25" fmla="*/ 201 h 498"/>
                <a:gd name="T26" fmla="*/ 91 w 97"/>
                <a:gd name="T27" fmla="*/ 169 h 498"/>
                <a:gd name="T28" fmla="*/ 83 w 97"/>
                <a:gd name="T29" fmla="*/ 138 h 498"/>
                <a:gd name="T30" fmla="*/ 75 w 97"/>
                <a:gd name="T31" fmla="*/ 108 h 498"/>
                <a:gd name="T32" fmla="*/ 64 w 97"/>
                <a:gd name="T33" fmla="*/ 78 h 498"/>
                <a:gd name="T34" fmla="*/ 50 w 97"/>
                <a:gd name="T35" fmla="*/ 49 h 498"/>
                <a:gd name="T36" fmla="*/ 35 w 97"/>
                <a:gd name="T37" fmla="*/ 21 h 498"/>
                <a:gd name="T38" fmla="*/ 26 w 97"/>
                <a:gd name="T39" fmla="*/ 4 h 498"/>
                <a:gd name="T40" fmla="*/ 20 w 97"/>
                <a:gd name="T41" fmla="*/ 1 h 498"/>
                <a:gd name="T42" fmla="*/ 15 w 97"/>
                <a:gd name="T43" fmla="*/ 0 h 498"/>
                <a:gd name="T44" fmla="*/ 10 w 97"/>
                <a:gd name="T45" fmla="*/ 1 h 498"/>
                <a:gd name="T46" fmla="*/ 4 w 97"/>
                <a:gd name="T47" fmla="*/ 4 h 498"/>
                <a:gd name="T48" fmla="*/ 1 w 97"/>
                <a:gd name="T49" fmla="*/ 9 h 498"/>
                <a:gd name="T50" fmla="*/ 0 w 97"/>
                <a:gd name="T51" fmla="*/ 15 h 498"/>
                <a:gd name="T52" fmla="*/ 1 w 97"/>
                <a:gd name="T53" fmla="*/ 20 h 498"/>
                <a:gd name="T54" fmla="*/ 17 w 97"/>
                <a:gd name="T55" fmla="*/ 49 h 498"/>
                <a:gd name="T56" fmla="*/ 42 w 97"/>
                <a:gd name="T57" fmla="*/ 102 h 498"/>
                <a:gd name="T58" fmla="*/ 58 w 97"/>
                <a:gd name="T59" fmla="*/ 160 h 498"/>
                <a:gd name="T60" fmla="*/ 66 w 97"/>
                <a:gd name="T61" fmla="*/ 219 h 498"/>
                <a:gd name="T62" fmla="*/ 66 w 97"/>
                <a:gd name="T63" fmla="*/ 278 h 498"/>
                <a:gd name="T64" fmla="*/ 58 w 97"/>
                <a:gd name="T65" fmla="*/ 337 h 498"/>
                <a:gd name="T66" fmla="*/ 42 w 97"/>
                <a:gd name="T67" fmla="*/ 395 h 498"/>
                <a:gd name="T68" fmla="*/ 17 w 97"/>
                <a:gd name="T69" fmla="*/ 449 h 498"/>
                <a:gd name="T70" fmla="*/ 1 w 97"/>
                <a:gd name="T71" fmla="*/ 478 h 498"/>
                <a:gd name="T72" fmla="*/ 0 w 97"/>
                <a:gd name="T73" fmla="*/ 483 h 498"/>
                <a:gd name="T74" fmla="*/ 1 w 97"/>
                <a:gd name="T75" fmla="*/ 488 h 498"/>
                <a:gd name="T76" fmla="*/ 4 w 97"/>
                <a:gd name="T77" fmla="*/ 494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7" h="498">
                  <a:moveTo>
                    <a:pt x="6" y="496"/>
                  </a:moveTo>
                  <a:lnTo>
                    <a:pt x="11" y="497"/>
                  </a:lnTo>
                  <a:lnTo>
                    <a:pt x="15" y="498"/>
                  </a:lnTo>
                  <a:lnTo>
                    <a:pt x="18" y="497"/>
                  </a:lnTo>
                  <a:lnTo>
                    <a:pt x="21" y="496"/>
                  </a:lnTo>
                  <a:lnTo>
                    <a:pt x="25" y="494"/>
                  </a:lnTo>
                  <a:lnTo>
                    <a:pt x="27" y="491"/>
                  </a:lnTo>
                  <a:lnTo>
                    <a:pt x="35" y="478"/>
                  </a:lnTo>
                  <a:lnTo>
                    <a:pt x="44" y="463"/>
                  </a:lnTo>
                  <a:lnTo>
                    <a:pt x="50" y="449"/>
                  </a:lnTo>
                  <a:lnTo>
                    <a:pt x="58" y="435"/>
                  </a:lnTo>
                  <a:lnTo>
                    <a:pt x="64" y="420"/>
                  </a:lnTo>
                  <a:lnTo>
                    <a:pt x="70" y="405"/>
                  </a:lnTo>
                  <a:lnTo>
                    <a:pt x="75" y="390"/>
                  </a:lnTo>
                  <a:lnTo>
                    <a:pt x="79" y="375"/>
                  </a:lnTo>
                  <a:lnTo>
                    <a:pt x="83" y="360"/>
                  </a:lnTo>
                  <a:lnTo>
                    <a:pt x="88" y="344"/>
                  </a:lnTo>
                  <a:lnTo>
                    <a:pt x="91" y="329"/>
                  </a:lnTo>
                  <a:lnTo>
                    <a:pt x="93" y="313"/>
                  </a:lnTo>
                  <a:lnTo>
                    <a:pt x="95" y="297"/>
                  </a:lnTo>
                  <a:lnTo>
                    <a:pt x="96" y="280"/>
                  </a:lnTo>
                  <a:lnTo>
                    <a:pt x="97" y="265"/>
                  </a:lnTo>
                  <a:lnTo>
                    <a:pt x="97" y="249"/>
                  </a:lnTo>
                  <a:lnTo>
                    <a:pt x="97" y="232"/>
                  </a:lnTo>
                  <a:lnTo>
                    <a:pt x="96" y="217"/>
                  </a:lnTo>
                  <a:lnTo>
                    <a:pt x="95" y="201"/>
                  </a:lnTo>
                  <a:lnTo>
                    <a:pt x="93" y="185"/>
                  </a:lnTo>
                  <a:lnTo>
                    <a:pt x="91" y="169"/>
                  </a:lnTo>
                  <a:lnTo>
                    <a:pt x="88" y="154"/>
                  </a:lnTo>
                  <a:lnTo>
                    <a:pt x="83" y="138"/>
                  </a:lnTo>
                  <a:lnTo>
                    <a:pt x="79" y="123"/>
                  </a:lnTo>
                  <a:lnTo>
                    <a:pt x="75" y="108"/>
                  </a:lnTo>
                  <a:lnTo>
                    <a:pt x="70" y="93"/>
                  </a:lnTo>
                  <a:lnTo>
                    <a:pt x="64" y="78"/>
                  </a:lnTo>
                  <a:lnTo>
                    <a:pt x="58" y="63"/>
                  </a:lnTo>
                  <a:lnTo>
                    <a:pt x="50" y="49"/>
                  </a:lnTo>
                  <a:lnTo>
                    <a:pt x="44" y="35"/>
                  </a:lnTo>
                  <a:lnTo>
                    <a:pt x="35" y="21"/>
                  </a:lnTo>
                  <a:lnTo>
                    <a:pt x="27" y="7"/>
                  </a:lnTo>
                  <a:lnTo>
                    <a:pt x="26" y="4"/>
                  </a:lnTo>
                  <a:lnTo>
                    <a:pt x="23" y="3"/>
                  </a:lnTo>
                  <a:lnTo>
                    <a:pt x="20" y="1"/>
                  </a:lnTo>
                  <a:lnTo>
                    <a:pt x="18" y="0"/>
                  </a:lnTo>
                  <a:lnTo>
                    <a:pt x="15" y="0"/>
                  </a:lnTo>
                  <a:lnTo>
                    <a:pt x="12" y="0"/>
                  </a:lnTo>
                  <a:lnTo>
                    <a:pt x="10" y="1"/>
                  </a:lnTo>
                  <a:lnTo>
                    <a:pt x="6" y="2"/>
                  </a:lnTo>
                  <a:lnTo>
                    <a:pt x="4" y="4"/>
                  </a:lnTo>
                  <a:lnTo>
                    <a:pt x="2" y="6"/>
                  </a:lnTo>
                  <a:lnTo>
                    <a:pt x="1" y="9"/>
                  </a:lnTo>
                  <a:lnTo>
                    <a:pt x="0" y="11"/>
                  </a:lnTo>
                  <a:lnTo>
                    <a:pt x="0" y="15"/>
                  </a:lnTo>
                  <a:lnTo>
                    <a:pt x="0" y="18"/>
                  </a:lnTo>
                  <a:lnTo>
                    <a:pt x="1" y="20"/>
                  </a:lnTo>
                  <a:lnTo>
                    <a:pt x="2" y="23"/>
                  </a:lnTo>
                  <a:lnTo>
                    <a:pt x="17" y="49"/>
                  </a:lnTo>
                  <a:lnTo>
                    <a:pt x="30" y="76"/>
                  </a:lnTo>
                  <a:lnTo>
                    <a:pt x="42" y="102"/>
                  </a:lnTo>
                  <a:lnTo>
                    <a:pt x="51" y="131"/>
                  </a:lnTo>
                  <a:lnTo>
                    <a:pt x="58" y="160"/>
                  </a:lnTo>
                  <a:lnTo>
                    <a:pt x="63" y="189"/>
                  </a:lnTo>
                  <a:lnTo>
                    <a:pt x="66" y="219"/>
                  </a:lnTo>
                  <a:lnTo>
                    <a:pt x="67" y="249"/>
                  </a:lnTo>
                  <a:lnTo>
                    <a:pt x="66" y="278"/>
                  </a:lnTo>
                  <a:lnTo>
                    <a:pt x="63" y="308"/>
                  </a:lnTo>
                  <a:lnTo>
                    <a:pt x="58" y="337"/>
                  </a:lnTo>
                  <a:lnTo>
                    <a:pt x="51" y="366"/>
                  </a:lnTo>
                  <a:lnTo>
                    <a:pt x="42" y="395"/>
                  </a:lnTo>
                  <a:lnTo>
                    <a:pt x="30" y="422"/>
                  </a:lnTo>
                  <a:lnTo>
                    <a:pt x="17" y="449"/>
                  </a:lnTo>
                  <a:lnTo>
                    <a:pt x="2" y="475"/>
                  </a:lnTo>
                  <a:lnTo>
                    <a:pt x="1" y="478"/>
                  </a:lnTo>
                  <a:lnTo>
                    <a:pt x="0" y="480"/>
                  </a:lnTo>
                  <a:lnTo>
                    <a:pt x="0" y="483"/>
                  </a:lnTo>
                  <a:lnTo>
                    <a:pt x="0" y="486"/>
                  </a:lnTo>
                  <a:lnTo>
                    <a:pt x="1" y="488"/>
                  </a:lnTo>
                  <a:lnTo>
                    <a:pt x="2" y="492"/>
                  </a:lnTo>
                  <a:lnTo>
                    <a:pt x="4" y="494"/>
                  </a:lnTo>
                  <a:lnTo>
                    <a:pt x="6" y="4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12">
              <a:extLst>
                <a:ext uri="{FF2B5EF4-FFF2-40B4-BE49-F238E27FC236}">
                  <a16:creationId xmlns:a16="http://schemas.microsoft.com/office/drawing/2014/main" id="{48F25EF5-AD26-445E-9C77-AF91E63BE01A}"/>
                </a:ext>
              </a:extLst>
            </p:cNvPr>
            <p:cNvSpPr>
              <a:spLocks/>
            </p:cNvSpPr>
            <p:nvPr/>
          </p:nvSpPr>
          <p:spPr bwMode="auto">
            <a:xfrm>
              <a:off x="4891088" y="836613"/>
              <a:ext cx="31750" cy="157163"/>
            </a:xfrm>
            <a:custGeom>
              <a:avLst/>
              <a:gdLst>
                <a:gd name="T0" fmla="*/ 88 w 98"/>
                <a:gd name="T1" fmla="*/ 497 h 498"/>
                <a:gd name="T2" fmla="*/ 94 w 98"/>
                <a:gd name="T3" fmla="*/ 494 h 498"/>
                <a:gd name="T4" fmla="*/ 97 w 98"/>
                <a:gd name="T5" fmla="*/ 488 h 498"/>
                <a:gd name="T6" fmla="*/ 98 w 98"/>
                <a:gd name="T7" fmla="*/ 483 h 498"/>
                <a:gd name="T8" fmla="*/ 97 w 98"/>
                <a:gd name="T9" fmla="*/ 478 h 498"/>
                <a:gd name="T10" fmla="*/ 81 w 98"/>
                <a:gd name="T11" fmla="*/ 449 h 498"/>
                <a:gd name="T12" fmla="*/ 56 w 98"/>
                <a:gd name="T13" fmla="*/ 395 h 498"/>
                <a:gd name="T14" fmla="*/ 39 w 98"/>
                <a:gd name="T15" fmla="*/ 337 h 498"/>
                <a:gd name="T16" fmla="*/ 31 w 98"/>
                <a:gd name="T17" fmla="*/ 278 h 498"/>
                <a:gd name="T18" fmla="*/ 31 w 98"/>
                <a:gd name="T19" fmla="*/ 219 h 498"/>
                <a:gd name="T20" fmla="*/ 39 w 98"/>
                <a:gd name="T21" fmla="*/ 160 h 498"/>
                <a:gd name="T22" fmla="*/ 56 w 98"/>
                <a:gd name="T23" fmla="*/ 102 h 498"/>
                <a:gd name="T24" fmla="*/ 81 w 98"/>
                <a:gd name="T25" fmla="*/ 49 h 498"/>
                <a:gd name="T26" fmla="*/ 97 w 98"/>
                <a:gd name="T27" fmla="*/ 20 h 498"/>
                <a:gd name="T28" fmla="*/ 98 w 98"/>
                <a:gd name="T29" fmla="*/ 15 h 498"/>
                <a:gd name="T30" fmla="*/ 97 w 98"/>
                <a:gd name="T31" fmla="*/ 9 h 498"/>
                <a:gd name="T32" fmla="*/ 94 w 98"/>
                <a:gd name="T33" fmla="*/ 4 h 498"/>
                <a:gd name="T34" fmla="*/ 89 w 98"/>
                <a:gd name="T35" fmla="*/ 1 h 498"/>
                <a:gd name="T36" fmla="*/ 83 w 98"/>
                <a:gd name="T37" fmla="*/ 0 h 498"/>
                <a:gd name="T38" fmla="*/ 77 w 98"/>
                <a:gd name="T39" fmla="*/ 1 h 498"/>
                <a:gd name="T40" fmla="*/ 73 w 98"/>
                <a:gd name="T41" fmla="*/ 4 h 498"/>
                <a:gd name="T42" fmla="*/ 62 w 98"/>
                <a:gd name="T43" fmla="*/ 21 h 498"/>
                <a:gd name="T44" fmla="*/ 47 w 98"/>
                <a:gd name="T45" fmla="*/ 49 h 498"/>
                <a:gd name="T46" fmla="*/ 34 w 98"/>
                <a:gd name="T47" fmla="*/ 78 h 498"/>
                <a:gd name="T48" fmla="*/ 22 w 98"/>
                <a:gd name="T49" fmla="*/ 108 h 498"/>
                <a:gd name="T50" fmla="*/ 14 w 98"/>
                <a:gd name="T51" fmla="*/ 138 h 498"/>
                <a:gd name="T52" fmla="*/ 7 w 98"/>
                <a:gd name="T53" fmla="*/ 169 h 498"/>
                <a:gd name="T54" fmla="*/ 3 w 98"/>
                <a:gd name="T55" fmla="*/ 201 h 498"/>
                <a:gd name="T56" fmla="*/ 1 w 98"/>
                <a:gd name="T57" fmla="*/ 232 h 498"/>
                <a:gd name="T58" fmla="*/ 1 w 98"/>
                <a:gd name="T59" fmla="*/ 265 h 498"/>
                <a:gd name="T60" fmla="*/ 3 w 98"/>
                <a:gd name="T61" fmla="*/ 297 h 498"/>
                <a:gd name="T62" fmla="*/ 7 w 98"/>
                <a:gd name="T63" fmla="*/ 329 h 498"/>
                <a:gd name="T64" fmla="*/ 14 w 98"/>
                <a:gd name="T65" fmla="*/ 360 h 498"/>
                <a:gd name="T66" fmla="*/ 22 w 98"/>
                <a:gd name="T67" fmla="*/ 390 h 498"/>
                <a:gd name="T68" fmla="*/ 34 w 98"/>
                <a:gd name="T69" fmla="*/ 420 h 498"/>
                <a:gd name="T70" fmla="*/ 47 w 98"/>
                <a:gd name="T71" fmla="*/ 449 h 498"/>
                <a:gd name="T72" fmla="*/ 62 w 98"/>
                <a:gd name="T73" fmla="*/ 478 h 498"/>
                <a:gd name="T74" fmla="*/ 73 w 98"/>
                <a:gd name="T75" fmla="*/ 494 h 498"/>
                <a:gd name="T76" fmla="*/ 79 w 98"/>
                <a:gd name="T77" fmla="*/ 497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8" h="498">
                  <a:moveTo>
                    <a:pt x="83" y="498"/>
                  </a:moveTo>
                  <a:lnTo>
                    <a:pt x="88" y="497"/>
                  </a:lnTo>
                  <a:lnTo>
                    <a:pt x="91" y="496"/>
                  </a:lnTo>
                  <a:lnTo>
                    <a:pt x="94" y="494"/>
                  </a:lnTo>
                  <a:lnTo>
                    <a:pt x="95" y="492"/>
                  </a:lnTo>
                  <a:lnTo>
                    <a:pt x="97" y="488"/>
                  </a:lnTo>
                  <a:lnTo>
                    <a:pt x="98" y="486"/>
                  </a:lnTo>
                  <a:lnTo>
                    <a:pt x="98" y="483"/>
                  </a:lnTo>
                  <a:lnTo>
                    <a:pt x="98" y="480"/>
                  </a:lnTo>
                  <a:lnTo>
                    <a:pt x="97" y="478"/>
                  </a:lnTo>
                  <a:lnTo>
                    <a:pt x="96" y="475"/>
                  </a:lnTo>
                  <a:lnTo>
                    <a:pt x="81" y="449"/>
                  </a:lnTo>
                  <a:lnTo>
                    <a:pt x="67" y="422"/>
                  </a:lnTo>
                  <a:lnTo>
                    <a:pt x="56" y="395"/>
                  </a:lnTo>
                  <a:lnTo>
                    <a:pt x="47" y="366"/>
                  </a:lnTo>
                  <a:lnTo>
                    <a:pt x="39" y="337"/>
                  </a:lnTo>
                  <a:lnTo>
                    <a:pt x="34" y="308"/>
                  </a:lnTo>
                  <a:lnTo>
                    <a:pt x="31" y="278"/>
                  </a:lnTo>
                  <a:lnTo>
                    <a:pt x="30" y="249"/>
                  </a:lnTo>
                  <a:lnTo>
                    <a:pt x="31" y="219"/>
                  </a:lnTo>
                  <a:lnTo>
                    <a:pt x="34" y="189"/>
                  </a:lnTo>
                  <a:lnTo>
                    <a:pt x="39" y="160"/>
                  </a:lnTo>
                  <a:lnTo>
                    <a:pt x="47" y="131"/>
                  </a:lnTo>
                  <a:lnTo>
                    <a:pt x="56" y="102"/>
                  </a:lnTo>
                  <a:lnTo>
                    <a:pt x="67" y="76"/>
                  </a:lnTo>
                  <a:lnTo>
                    <a:pt x="81" y="49"/>
                  </a:lnTo>
                  <a:lnTo>
                    <a:pt x="96" y="23"/>
                  </a:lnTo>
                  <a:lnTo>
                    <a:pt x="97" y="20"/>
                  </a:lnTo>
                  <a:lnTo>
                    <a:pt x="98" y="18"/>
                  </a:lnTo>
                  <a:lnTo>
                    <a:pt x="98" y="15"/>
                  </a:lnTo>
                  <a:lnTo>
                    <a:pt x="98" y="11"/>
                  </a:lnTo>
                  <a:lnTo>
                    <a:pt x="97" y="9"/>
                  </a:lnTo>
                  <a:lnTo>
                    <a:pt x="95" y="6"/>
                  </a:lnTo>
                  <a:lnTo>
                    <a:pt x="94" y="4"/>
                  </a:lnTo>
                  <a:lnTo>
                    <a:pt x="91" y="2"/>
                  </a:lnTo>
                  <a:lnTo>
                    <a:pt x="89" y="1"/>
                  </a:lnTo>
                  <a:lnTo>
                    <a:pt x="85" y="0"/>
                  </a:lnTo>
                  <a:lnTo>
                    <a:pt x="83" y="0"/>
                  </a:lnTo>
                  <a:lnTo>
                    <a:pt x="80" y="0"/>
                  </a:lnTo>
                  <a:lnTo>
                    <a:pt x="77" y="1"/>
                  </a:lnTo>
                  <a:lnTo>
                    <a:pt x="75" y="3"/>
                  </a:lnTo>
                  <a:lnTo>
                    <a:pt x="73" y="4"/>
                  </a:lnTo>
                  <a:lnTo>
                    <a:pt x="70" y="7"/>
                  </a:lnTo>
                  <a:lnTo>
                    <a:pt x="62" y="21"/>
                  </a:lnTo>
                  <a:lnTo>
                    <a:pt x="54" y="35"/>
                  </a:lnTo>
                  <a:lnTo>
                    <a:pt x="47" y="49"/>
                  </a:lnTo>
                  <a:lnTo>
                    <a:pt x="40" y="63"/>
                  </a:lnTo>
                  <a:lnTo>
                    <a:pt x="34" y="78"/>
                  </a:lnTo>
                  <a:lnTo>
                    <a:pt x="28" y="93"/>
                  </a:lnTo>
                  <a:lnTo>
                    <a:pt x="22" y="108"/>
                  </a:lnTo>
                  <a:lnTo>
                    <a:pt x="18" y="123"/>
                  </a:lnTo>
                  <a:lnTo>
                    <a:pt x="14" y="138"/>
                  </a:lnTo>
                  <a:lnTo>
                    <a:pt x="10" y="154"/>
                  </a:lnTo>
                  <a:lnTo>
                    <a:pt x="7" y="169"/>
                  </a:lnTo>
                  <a:lnTo>
                    <a:pt x="4" y="185"/>
                  </a:lnTo>
                  <a:lnTo>
                    <a:pt x="3" y="201"/>
                  </a:lnTo>
                  <a:lnTo>
                    <a:pt x="1" y="217"/>
                  </a:lnTo>
                  <a:lnTo>
                    <a:pt x="1" y="232"/>
                  </a:lnTo>
                  <a:lnTo>
                    <a:pt x="0" y="249"/>
                  </a:lnTo>
                  <a:lnTo>
                    <a:pt x="1" y="265"/>
                  </a:lnTo>
                  <a:lnTo>
                    <a:pt x="1" y="280"/>
                  </a:lnTo>
                  <a:lnTo>
                    <a:pt x="3" y="297"/>
                  </a:lnTo>
                  <a:lnTo>
                    <a:pt x="4" y="313"/>
                  </a:lnTo>
                  <a:lnTo>
                    <a:pt x="7" y="329"/>
                  </a:lnTo>
                  <a:lnTo>
                    <a:pt x="10" y="344"/>
                  </a:lnTo>
                  <a:lnTo>
                    <a:pt x="14" y="360"/>
                  </a:lnTo>
                  <a:lnTo>
                    <a:pt x="18" y="375"/>
                  </a:lnTo>
                  <a:lnTo>
                    <a:pt x="22" y="390"/>
                  </a:lnTo>
                  <a:lnTo>
                    <a:pt x="28" y="405"/>
                  </a:lnTo>
                  <a:lnTo>
                    <a:pt x="34" y="420"/>
                  </a:lnTo>
                  <a:lnTo>
                    <a:pt x="40" y="435"/>
                  </a:lnTo>
                  <a:lnTo>
                    <a:pt x="47" y="449"/>
                  </a:lnTo>
                  <a:lnTo>
                    <a:pt x="54" y="463"/>
                  </a:lnTo>
                  <a:lnTo>
                    <a:pt x="62" y="478"/>
                  </a:lnTo>
                  <a:lnTo>
                    <a:pt x="70" y="491"/>
                  </a:lnTo>
                  <a:lnTo>
                    <a:pt x="73" y="494"/>
                  </a:lnTo>
                  <a:lnTo>
                    <a:pt x="76" y="496"/>
                  </a:lnTo>
                  <a:lnTo>
                    <a:pt x="79" y="497"/>
                  </a:lnTo>
                  <a:lnTo>
                    <a:pt x="83" y="4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13">
              <a:extLst>
                <a:ext uri="{FF2B5EF4-FFF2-40B4-BE49-F238E27FC236}">
                  <a16:creationId xmlns:a16="http://schemas.microsoft.com/office/drawing/2014/main" id="{C1F1925C-A9BC-4C04-9005-79FD4F59976E}"/>
                </a:ext>
              </a:extLst>
            </p:cNvPr>
            <p:cNvSpPr>
              <a:spLocks/>
            </p:cNvSpPr>
            <p:nvPr/>
          </p:nvSpPr>
          <p:spPr bwMode="auto">
            <a:xfrm>
              <a:off x="4956175" y="1027113"/>
              <a:ext cx="158750" cy="31750"/>
            </a:xfrm>
            <a:custGeom>
              <a:avLst/>
              <a:gdLst>
                <a:gd name="T0" fmla="*/ 450 w 499"/>
                <a:gd name="T1" fmla="*/ 17 h 98"/>
                <a:gd name="T2" fmla="*/ 395 w 499"/>
                <a:gd name="T3" fmla="*/ 42 h 98"/>
                <a:gd name="T4" fmla="*/ 338 w 499"/>
                <a:gd name="T5" fmla="*/ 59 h 98"/>
                <a:gd name="T6" fmla="*/ 279 w 499"/>
                <a:gd name="T7" fmla="*/ 67 h 98"/>
                <a:gd name="T8" fmla="*/ 219 w 499"/>
                <a:gd name="T9" fmla="*/ 67 h 98"/>
                <a:gd name="T10" fmla="*/ 160 w 499"/>
                <a:gd name="T11" fmla="*/ 59 h 98"/>
                <a:gd name="T12" fmla="*/ 103 w 499"/>
                <a:gd name="T13" fmla="*/ 42 h 98"/>
                <a:gd name="T14" fmla="*/ 50 w 499"/>
                <a:gd name="T15" fmla="*/ 17 h 98"/>
                <a:gd name="T16" fmla="*/ 21 w 499"/>
                <a:gd name="T17" fmla="*/ 1 h 98"/>
                <a:gd name="T18" fmla="*/ 15 w 499"/>
                <a:gd name="T19" fmla="*/ 0 h 98"/>
                <a:gd name="T20" fmla="*/ 9 w 499"/>
                <a:gd name="T21" fmla="*/ 1 h 98"/>
                <a:gd name="T22" fmla="*/ 5 w 499"/>
                <a:gd name="T23" fmla="*/ 4 h 98"/>
                <a:gd name="T24" fmla="*/ 1 w 499"/>
                <a:gd name="T25" fmla="*/ 10 h 98"/>
                <a:gd name="T26" fmla="*/ 0 w 499"/>
                <a:gd name="T27" fmla="*/ 15 h 98"/>
                <a:gd name="T28" fmla="*/ 1 w 499"/>
                <a:gd name="T29" fmla="*/ 20 h 98"/>
                <a:gd name="T30" fmla="*/ 5 w 499"/>
                <a:gd name="T31" fmla="*/ 26 h 98"/>
                <a:gd name="T32" fmla="*/ 21 w 499"/>
                <a:gd name="T33" fmla="*/ 37 h 98"/>
                <a:gd name="T34" fmla="*/ 49 w 499"/>
                <a:gd name="T35" fmla="*/ 52 h 98"/>
                <a:gd name="T36" fmla="*/ 79 w 499"/>
                <a:gd name="T37" fmla="*/ 64 h 98"/>
                <a:gd name="T38" fmla="*/ 108 w 499"/>
                <a:gd name="T39" fmla="*/ 75 h 98"/>
                <a:gd name="T40" fmla="*/ 139 w 499"/>
                <a:gd name="T41" fmla="*/ 85 h 98"/>
                <a:gd name="T42" fmla="*/ 170 w 499"/>
                <a:gd name="T43" fmla="*/ 91 h 98"/>
                <a:gd name="T44" fmla="*/ 201 w 499"/>
                <a:gd name="T45" fmla="*/ 96 h 98"/>
                <a:gd name="T46" fmla="*/ 233 w 499"/>
                <a:gd name="T47" fmla="*/ 98 h 98"/>
                <a:gd name="T48" fmla="*/ 265 w 499"/>
                <a:gd name="T49" fmla="*/ 98 h 98"/>
                <a:gd name="T50" fmla="*/ 297 w 499"/>
                <a:gd name="T51" fmla="*/ 96 h 98"/>
                <a:gd name="T52" fmla="*/ 329 w 499"/>
                <a:gd name="T53" fmla="*/ 91 h 98"/>
                <a:gd name="T54" fmla="*/ 361 w 499"/>
                <a:gd name="T55" fmla="*/ 85 h 98"/>
                <a:gd name="T56" fmla="*/ 391 w 499"/>
                <a:gd name="T57" fmla="*/ 75 h 98"/>
                <a:gd name="T58" fmla="*/ 421 w 499"/>
                <a:gd name="T59" fmla="*/ 64 h 98"/>
                <a:gd name="T60" fmla="*/ 450 w 499"/>
                <a:gd name="T61" fmla="*/ 52 h 98"/>
                <a:gd name="T62" fmla="*/ 477 w 499"/>
                <a:gd name="T63" fmla="*/ 37 h 98"/>
                <a:gd name="T64" fmla="*/ 494 w 499"/>
                <a:gd name="T65" fmla="*/ 26 h 98"/>
                <a:gd name="T66" fmla="*/ 497 w 499"/>
                <a:gd name="T67" fmla="*/ 20 h 98"/>
                <a:gd name="T68" fmla="*/ 499 w 499"/>
                <a:gd name="T69" fmla="*/ 15 h 98"/>
                <a:gd name="T70" fmla="*/ 498 w 499"/>
                <a:gd name="T71" fmla="*/ 10 h 98"/>
                <a:gd name="T72" fmla="*/ 495 w 499"/>
                <a:gd name="T73" fmla="*/ 4 h 98"/>
                <a:gd name="T74" fmla="*/ 489 w 499"/>
                <a:gd name="T75" fmla="*/ 1 h 98"/>
                <a:gd name="T76" fmla="*/ 484 w 499"/>
                <a:gd name="T77" fmla="*/ 0 h 98"/>
                <a:gd name="T78" fmla="*/ 478 w 499"/>
                <a:gd name="T79"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99" h="98">
                  <a:moveTo>
                    <a:pt x="475" y="2"/>
                  </a:moveTo>
                  <a:lnTo>
                    <a:pt x="450" y="17"/>
                  </a:lnTo>
                  <a:lnTo>
                    <a:pt x="423" y="31"/>
                  </a:lnTo>
                  <a:lnTo>
                    <a:pt x="395" y="42"/>
                  </a:lnTo>
                  <a:lnTo>
                    <a:pt x="367" y="52"/>
                  </a:lnTo>
                  <a:lnTo>
                    <a:pt x="338" y="59"/>
                  </a:lnTo>
                  <a:lnTo>
                    <a:pt x="309" y="63"/>
                  </a:lnTo>
                  <a:lnTo>
                    <a:pt x="279" y="67"/>
                  </a:lnTo>
                  <a:lnTo>
                    <a:pt x="249" y="68"/>
                  </a:lnTo>
                  <a:lnTo>
                    <a:pt x="219" y="67"/>
                  </a:lnTo>
                  <a:lnTo>
                    <a:pt x="190" y="63"/>
                  </a:lnTo>
                  <a:lnTo>
                    <a:pt x="160" y="59"/>
                  </a:lnTo>
                  <a:lnTo>
                    <a:pt x="131" y="52"/>
                  </a:lnTo>
                  <a:lnTo>
                    <a:pt x="103" y="42"/>
                  </a:lnTo>
                  <a:lnTo>
                    <a:pt x="76" y="31"/>
                  </a:lnTo>
                  <a:lnTo>
                    <a:pt x="50" y="17"/>
                  </a:lnTo>
                  <a:lnTo>
                    <a:pt x="24" y="2"/>
                  </a:lnTo>
                  <a:lnTo>
                    <a:pt x="21" y="1"/>
                  </a:lnTo>
                  <a:lnTo>
                    <a:pt x="17" y="0"/>
                  </a:lnTo>
                  <a:lnTo>
                    <a:pt x="15" y="0"/>
                  </a:lnTo>
                  <a:lnTo>
                    <a:pt x="12" y="0"/>
                  </a:lnTo>
                  <a:lnTo>
                    <a:pt x="9" y="1"/>
                  </a:lnTo>
                  <a:lnTo>
                    <a:pt x="7" y="2"/>
                  </a:lnTo>
                  <a:lnTo>
                    <a:pt x="5" y="4"/>
                  </a:lnTo>
                  <a:lnTo>
                    <a:pt x="2" y="7"/>
                  </a:lnTo>
                  <a:lnTo>
                    <a:pt x="1" y="10"/>
                  </a:lnTo>
                  <a:lnTo>
                    <a:pt x="0" y="13"/>
                  </a:lnTo>
                  <a:lnTo>
                    <a:pt x="0" y="15"/>
                  </a:lnTo>
                  <a:lnTo>
                    <a:pt x="0" y="18"/>
                  </a:lnTo>
                  <a:lnTo>
                    <a:pt x="1" y="20"/>
                  </a:lnTo>
                  <a:lnTo>
                    <a:pt x="2" y="24"/>
                  </a:lnTo>
                  <a:lnTo>
                    <a:pt x="5" y="26"/>
                  </a:lnTo>
                  <a:lnTo>
                    <a:pt x="7" y="28"/>
                  </a:lnTo>
                  <a:lnTo>
                    <a:pt x="21" y="37"/>
                  </a:lnTo>
                  <a:lnTo>
                    <a:pt x="35" y="44"/>
                  </a:lnTo>
                  <a:lnTo>
                    <a:pt x="49" y="52"/>
                  </a:lnTo>
                  <a:lnTo>
                    <a:pt x="64" y="58"/>
                  </a:lnTo>
                  <a:lnTo>
                    <a:pt x="79" y="64"/>
                  </a:lnTo>
                  <a:lnTo>
                    <a:pt x="93" y="70"/>
                  </a:lnTo>
                  <a:lnTo>
                    <a:pt x="108" y="75"/>
                  </a:lnTo>
                  <a:lnTo>
                    <a:pt x="124" y="81"/>
                  </a:lnTo>
                  <a:lnTo>
                    <a:pt x="139" y="85"/>
                  </a:lnTo>
                  <a:lnTo>
                    <a:pt x="154" y="88"/>
                  </a:lnTo>
                  <a:lnTo>
                    <a:pt x="170" y="91"/>
                  </a:lnTo>
                  <a:lnTo>
                    <a:pt x="186" y="93"/>
                  </a:lnTo>
                  <a:lnTo>
                    <a:pt x="201" y="96"/>
                  </a:lnTo>
                  <a:lnTo>
                    <a:pt x="217" y="97"/>
                  </a:lnTo>
                  <a:lnTo>
                    <a:pt x="233" y="98"/>
                  </a:lnTo>
                  <a:lnTo>
                    <a:pt x="249" y="98"/>
                  </a:lnTo>
                  <a:lnTo>
                    <a:pt x="265" y="98"/>
                  </a:lnTo>
                  <a:lnTo>
                    <a:pt x="281" y="97"/>
                  </a:lnTo>
                  <a:lnTo>
                    <a:pt x="297" y="96"/>
                  </a:lnTo>
                  <a:lnTo>
                    <a:pt x="313" y="93"/>
                  </a:lnTo>
                  <a:lnTo>
                    <a:pt x="329" y="91"/>
                  </a:lnTo>
                  <a:lnTo>
                    <a:pt x="344" y="88"/>
                  </a:lnTo>
                  <a:lnTo>
                    <a:pt x="361" y="85"/>
                  </a:lnTo>
                  <a:lnTo>
                    <a:pt x="376" y="81"/>
                  </a:lnTo>
                  <a:lnTo>
                    <a:pt x="391" y="75"/>
                  </a:lnTo>
                  <a:lnTo>
                    <a:pt x="406" y="70"/>
                  </a:lnTo>
                  <a:lnTo>
                    <a:pt x="421" y="64"/>
                  </a:lnTo>
                  <a:lnTo>
                    <a:pt x="436" y="58"/>
                  </a:lnTo>
                  <a:lnTo>
                    <a:pt x="450" y="52"/>
                  </a:lnTo>
                  <a:lnTo>
                    <a:pt x="463" y="44"/>
                  </a:lnTo>
                  <a:lnTo>
                    <a:pt x="477" y="37"/>
                  </a:lnTo>
                  <a:lnTo>
                    <a:pt x="491" y="28"/>
                  </a:lnTo>
                  <a:lnTo>
                    <a:pt x="494" y="26"/>
                  </a:lnTo>
                  <a:lnTo>
                    <a:pt x="496" y="24"/>
                  </a:lnTo>
                  <a:lnTo>
                    <a:pt x="497" y="20"/>
                  </a:lnTo>
                  <a:lnTo>
                    <a:pt x="498" y="18"/>
                  </a:lnTo>
                  <a:lnTo>
                    <a:pt x="499" y="15"/>
                  </a:lnTo>
                  <a:lnTo>
                    <a:pt x="498" y="13"/>
                  </a:lnTo>
                  <a:lnTo>
                    <a:pt x="498" y="10"/>
                  </a:lnTo>
                  <a:lnTo>
                    <a:pt x="496" y="7"/>
                  </a:lnTo>
                  <a:lnTo>
                    <a:pt x="495" y="4"/>
                  </a:lnTo>
                  <a:lnTo>
                    <a:pt x="491" y="2"/>
                  </a:lnTo>
                  <a:lnTo>
                    <a:pt x="489" y="1"/>
                  </a:lnTo>
                  <a:lnTo>
                    <a:pt x="487" y="0"/>
                  </a:lnTo>
                  <a:lnTo>
                    <a:pt x="484" y="0"/>
                  </a:lnTo>
                  <a:lnTo>
                    <a:pt x="481" y="0"/>
                  </a:lnTo>
                  <a:lnTo>
                    <a:pt x="478" y="1"/>
                  </a:lnTo>
                  <a:lnTo>
                    <a:pt x="47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14">
              <a:extLst>
                <a:ext uri="{FF2B5EF4-FFF2-40B4-BE49-F238E27FC236}">
                  <a16:creationId xmlns:a16="http://schemas.microsoft.com/office/drawing/2014/main" id="{C1932077-271A-4548-939C-4355D2414247}"/>
                </a:ext>
              </a:extLst>
            </p:cNvPr>
            <p:cNvSpPr>
              <a:spLocks/>
            </p:cNvSpPr>
            <p:nvPr/>
          </p:nvSpPr>
          <p:spPr bwMode="auto">
            <a:xfrm>
              <a:off x="5114925" y="993775"/>
              <a:ext cx="63500" cy="65088"/>
            </a:xfrm>
            <a:custGeom>
              <a:avLst/>
              <a:gdLst>
                <a:gd name="T0" fmla="*/ 26 w 200"/>
                <a:gd name="T1" fmla="*/ 4 h 201"/>
                <a:gd name="T2" fmla="*/ 24 w 200"/>
                <a:gd name="T3" fmla="*/ 2 h 201"/>
                <a:gd name="T4" fmla="*/ 20 w 200"/>
                <a:gd name="T5" fmla="*/ 1 h 201"/>
                <a:gd name="T6" fmla="*/ 18 w 200"/>
                <a:gd name="T7" fmla="*/ 0 h 201"/>
                <a:gd name="T8" fmla="*/ 15 w 200"/>
                <a:gd name="T9" fmla="*/ 0 h 201"/>
                <a:gd name="T10" fmla="*/ 12 w 200"/>
                <a:gd name="T11" fmla="*/ 0 h 201"/>
                <a:gd name="T12" fmla="*/ 10 w 200"/>
                <a:gd name="T13" fmla="*/ 1 h 201"/>
                <a:gd name="T14" fmla="*/ 6 w 200"/>
                <a:gd name="T15" fmla="*/ 2 h 201"/>
                <a:gd name="T16" fmla="*/ 4 w 200"/>
                <a:gd name="T17" fmla="*/ 4 h 201"/>
                <a:gd name="T18" fmla="*/ 2 w 200"/>
                <a:gd name="T19" fmla="*/ 7 h 201"/>
                <a:gd name="T20" fmla="*/ 1 w 200"/>
                <a:gd name="T21" fmla="*/ 10 h 201"/>
                <a:gd name="T22" fmla="*/ 0 w 200"/>
                <a:gd name="T23" fmla="*/ 12 h 201"/>
                <a:gd name="T24" fmla="*/ 0 w 200"/>
                <a:gd name="T25" fmla="*/ 15 h 201"/>
                <a:gd name="T26" fmla="*/ 0 w 200"/>
                <a:gd name="T27" fmla="*/ 18 h 201"/>
                <a:gd name="T28" fmla="*/ 1 w 200"/>
                <a:gd name="T29" fmla="*/ 21 h 201"/>
                <a:gd name="T30" fmla="*/ 2 w 200"/>
                <a:gd name="T31" fmla="*/ 24 h 201"/>
                <a:gd name="T32" fmla="*/ 4 w 200"/>
                <a:gd name="T33" fmla="*/ 26 h 201"/>
                <a:gd name="T34" fmla="*/ 175 w 200"/>
                <a:gd name="T35" fmla="*/ 196 h 201"/>
                <a:gd name="T36" fmla="*/ 177 w 200"/>
                <a:gd name="T37" fmla="*/ 199 h 201"/>
                <a:gd name="T38" fmla="*/ 180 w 200"/>
                <a:gd name="T39" fmla="*/ 200 h 201"/>
                <a:gd name="T40" fmla="*/ 182 w 200"/>
                <a:gd name="T41" fmla="*/ 201 h 201"/>
                <a:gd name="T42" fmla="*/ 185 w 200"/>
                <a:gd name="T43" fmla="*/ 201 h 201"/>
                <a:gd name="T44" fmla="*/ 189 w 200"/>
                <a:gd name="T45" fmla="*/ 201 h 201"/>
                <a:gd name="T46" fmla="*/ 191 w 200"/>
                <a:gd name="T47" fmla="*/ 200 h 201"/>
                <a:gd name="T48" fmla="*/ 194 w 200"/>
                <a:gd name="T49" fmla="*/ 199 h 201"/>
                <a:gd name="T50" fmla="*/ 196 w 200"/>
                <a:gd name="T51" fmla="*/ 196 h 201"/>
                <a:gd name="T52" fmla="*/ 198 w 200"/>
                <a:gd name="T53" fmla="*/ 194 h 201"/>
                <a:gd name="T54" fmla="*/ 199 w 200"/>
                <a:gd name="T55" fmla="*/ 192 h 201"/>
                <a:gd name="T56" fmla="*/ 200 w 200"/>
                <a:gd name="T57" fmla="*/ 189 h 201"/>
                <a:gd name="T58" fmla="*/ 200 w 200"/>
                <a:gd name="T59" fmla="*/ 186 h 201"/>
                <a:gd name="T60" fmla="*/ 200 w 200"/>
                <a:gd name="T61" fmla="*/ 184 h 201"/>
                <a:gd name="T62" fmla="*/ 199 w 200"/>
                <a:gd name="T63" fmla="*/ 180 h 201"/>
                <a:gd name="T64" fmla="*/ 198 w 200"/>
                <a:gd name="T65" fmla="*/ 178 h 201"/>
                <a:gd name="T66" fmla="*/ 196 w 200"/>
                <a:gd name="T67" fmla="*/ 175 h 201"/>
                <a:gd name="T68" fmla="*/ 26 w 200"/>
                <a:gd name="T6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 h="201">
                  <a:moveTo>
                    <a:pt x="26" y="4"/>
                  </a:moveTo>
                  <a:lnTo>
                    <a:pt x="24" y="2"/>
                  </a:lnTo>
                  <a:lnTo>
                    <a:pt x="20" y="1"/>
                  </a:lnTo>
                  <a:lnTo>
                    <a:pt x="18" y="0"/>
                  </a:lnTo>
                  <a:lnTo>
                    <a:pt x="15" y="0"/>
                  </a:lnTo>
                  <a:lnTo>
                    <a:pt x="12" y="0"/>
                  </a:lnTo>
                  <a:lnTo>
                    <a:pt x="10" y="1"/>
                  </a:lnTo>
                  <a:lnTo>
                    <a:pt x="6" y="2"/>
                  </a:lnTo>
                  <a:lnTo>
                    <a:pt x="4" y="4"/>
                  </a:lnTo>
                  <a:lnTo>
                    <a:pt x="2" y="7"/>
                  </a:lnTo>
                  <a:lnTo>
                    <a:pt x="1" y="10"/>
                  </a:lnTo>
                  <a:lnTo>
                    <a:pt x="0" y="12"/>
                  </a:lnTo>
                  <a:lnTo>
                    <a:pt x="0" y="15"/>
                  </a:lnTo>
                  <a:lnTo>
                    <a:pt x="0" y="18"/>
                  </a:lnTo>
                  <a:lnTo>
                    <a:pt x="1" y="21"/>
                  </a:lnTo>
                  <a:lnTo>
                    <a:pt x="2" y="24"/>
                  </a:lnTo>
                  <a:lnTo>
                    <a:pt x="4" y="26"/>
                  </a:lnTo>
                  <a:lnTo>
                    <a:pt x="175" y="196"/>
                  </a:lnTo>
                  <a:lnTo>
                    <a:pt x="177" y="199"/>
                  </a:lnTo>
                  <a:lnTo>
                    <a:pt x="180" y="200"/>
                  </a:lnTo>
                  <a:lnTo>
                    <a:pt x="182" y="201"/>
                  </a:lnTo>
                  <a:lnTo>
                    <a:pt x="185" y="201"/>
                  </a:lnTo>
                  <a:lnTo>
                    <a:pt x="189" y="201"/>
                  </a:lnTo>
                  <a:lnTo>
                    <a:pt x="191" y="200"/>
                  </a:lnTo>
                  <a:lnTo>
                    <a:pt x="194" y="199"/>
                  </a:lnTo>
                  <a:lnTo>
                    <a:pt x="196" y="196"/>
                  </a:lnTo>
                  <a:lnTo>
                    <a:pt x="198" y="194"/>
                  </a:lnTo>
                  <a:lnTo>
                    <a:pt x="199" y="192"/>
                  </a:lnTo>
                  <a:lnTo>
                    <a:pt x="200" y="189"/>
                  </a:lnTo>
                  <a:lnTo>
                    <a:pt x="200" y="186"/>
                  </a:lnTo>
                  <a:lnTo>
                    <a:pt x="200" y="184"/>
                  </a:lnTo>
                  <a:lnTo>
                    <a:pt x="199" y="180"/>
                  </a:lnTo>
                  <a:lnTo>
                    <a:pt x="198" y="178"/>
                  </a:lnTo>
                  <a:lnTo>
                    <a:pt x="196" y="175"/>
                  </a:lnTo>
                  <a:lnTo>
                    <a:pt x="26"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15">
              <a:extLst>
                <a:ext uri="{FF2B5EF4-FFF2-40B4-BE49-F238E27FC236}">
                  <a16:creationId xmlns:a16="http://schemas.microsoft.com/office/drawing/2014/main" id="{D9B8C189-0F5B-4359-8732-A73A34735E4B}"/>
                </a:ext>
              </a:extLst>
            </p:cNvPr>
            <p:cNvSpPr>
              <a:spLocks/>
            </p:cNvSpPr>
            <p:nvPr/>
          </p:nvSpPr>
          <p:spPr bwMode="auto">
            <a:xfrm>
              <a:off x="4891088" y="993775"/>
              <a:ext cx="65088" cy="65088"/>
            </a:xfrm>
            <a:custGeom>
              <a:avLst/>
              <a:gdLst>
                <a:gd name="T0" fmla="*/ 175 w 201"/>
                <a:gd name="T1" fmla="*/ 4 h 201"/>
                <a:gd name="T2" fmla="*/ 4 w 201"/>
                <a:gd name="T3" fmla="*/ 175 h 201"/>
                <a:gd name="T4" fmla="*/ 3 w 201"/>
                <a:gd name="T5" fmla="*/ 178 h 201"/>
                <a:gd name="T6" fmla="*/ 1 w 201"/>
                <a:gd name="T7" fmla="*/ 180 h 201"/>
                <a:gd name="T8" fmla="*/ 1 w 201"/>
                <a:gd name="T9" fmla="*/ 184 h 201"/>
                <a:gd name="T10" fmla="*/ 0 w 201"/>
                <a:gd name="T11" fmla="*/ 186 h 201"/>
                <a:gd name="T12" fmla="*/ 1 w 201"/>
                <a:gd name="T13" fmla="*/ 189 h 201"/>
                <a:gd name="T14" fmla="*/ 1 w 201"/>
                <a:gd name="T15" fmla="*/ 192 h 201"/>
                <a:gd name="T16" fmla="*/ 3 w 201"/>
                <a:gd name="T17" fmla="*/ 194 h 201"/>
                <a:gd name="T18" fmla="*/ 4 w 201"/>
                <a:gd name="T19" fmla="*/ 196 h 201"/>
                <a:gd name="T20" fmla="*/ 7 w 201"/>
                <a:gd name="T21" fmla="*/ 199 h 201"/>
                <a:gd name="T22" fmla="*/ 9 w 201"/>
                <a:gd name="T23" fmla="*/ 200 h 201"/>
                <a:gd name="T24" fmla="*/ 13 w 201"/>
                <a:gd name="T25" fmla="*/ 201 h 201"/>
                <a:gd name="T26" fmla="*/ 15 w 201"/>
                <a:gd name="T27" fmla="*/ 201 h 201"/>
                <a:gd name="T28" fmla="*/ 18 w 201"/>
                <a:gd name="T29" fmla="*/ 201 h 201"/>
                <a:gd name="T30" fmla="*/ 21 w 201"/>
                <a:gd name="T31" fmla="*/ 200 h 201"/>
                <a:gd name="T32" fmla="*/ 23 w 201"/>
                <a:gd name="T33" fmla="*/ 199 h 201"/>
                <a:gd name="T34" fmla="*/ 25 w 201"/>
                <a:gd name="T35" fmla="*/ 196 h 201"/>
                <a:gd name="T36" fmla="*/ 196 w 201"/>
                <a:gd name="T37" fmla="*/ 26 h 201"/>
                <a:gd name="T38" fmla="*/ 198 w 201"/>
                <a:gd name="T39" fmla="*/ 24 h 201"/>
                <a:gd name="T40" fmla="*/ 200 w 201"/>
                <a:gd name="T41" fmla="*/ 21 h 201"/>
                <a:gd name="T42" fmla="*/ 200 w 201"/>
                <a:gd name="T43" fmla="*/ 18 h 201"/>
                <a:gd name="T44" fmla="*/ 201 w 201"/>
                <a:gd name="T45" fmla="*/ 15 h 201"/>
                <a:gd name="T46" fmla="*/ 200 w 201"/>
                <a:gd name="T47" fmla="*/ 12 h 201"/>
                <a:gd name="T48" fmla="*/ 200 w 201"/>
                <a:gd name="T49" fmla="*/ 10 h 201"/>
                <a:gd name="T50" fmla="*/ 198 w 201"/>
                <a:gd name="T51" fmla="*/ 7 h 201"/>
                <a:gd name="T52" fmla="*/ 196 w 201"/>
                <a:gd name="T53" fmla="*/ 4 h 201"/>
                <a:gd name="T54" fmla="*/ 194 w 201"/>
                <a:gd name="T55" fmla="*/ 2 h 201"/>
                <a:gd name="T56" fmla="*/ 192 w 201"/>
                <a:gd name="T57" fmla="*/ 1 h 201"/>
                <a:gd name="T58" fmla="*/ 188 w 201"/>
                <a:gd name="T59" fmla="*/ 0 h 201"/>
                <a:gd name="T60" fmla="*/ 186 w 201"/>
                <a:gd name="T61" fmla="*/ 0 h 201"/>
                <a:gd name="T62" fmla="*/ 183 w 201"/>
                <a:gd name="T63" fmla="*/ 0 h 201"/>
                <a:gd name="T64" fmla="*/ 180 w 201"/>
                <a:gd name="T65" fmla="*/ 1 h 201"/>
                <a:gd name="T66" fmla="*/ 178 w 201"/>
                <a:gd name="T67" fmla="*/ 2 h 201"/>
                <a:gd name="T68" fmla="*/ 175 w 201"/>
                <a:gd name="T69" fmla="*/ 4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201">
                  <a:moveTo>
                    <a:pt x="175" y="4"/>
                  </a:moveTo>
                  <a:lnTo>
                    <a:pt x="4" y="175"/>
                  </a:lnTo>
                  <a:lnTo>
                    <a:pt x="3" y="178"/>
                  </a:lnTo>
                  <a:lnTo>
                    <a:pt x="1" y="180"/>
                  </a:lnTo>
                  <a:lnTo>
                    <a:pt x="1" y="184"/>
                  </a:lnTo>
                  <a:lnTo>
                    <a:pt x="0" y="186"/>
                  </a:lnTo>
                  <a:lnTo>
                    <a:pt x="1" y="189"/>
                  </a:lnTo>
                  <a:lnTo>
                    <a:pt x="1" y="192"/>
                  </a:lnTo>
                  <a:lnTo>
                    <a:pt x="3" y="194"/>
                  </a:lnTo>
                  <a:lnTo>
                    <a:pt x="4" y="196"/>
                  </a:lnTo>
                  <a:lnTo>
                    <a:pt x="7" y="199"/>
                  </a:lnTo>
                  <a:lnTo>
                    <a:pt x="9" y="200"/>
                  </a:lnTo>
                  <a:lnTo>
                    <a:pt x="13" y="201"/>
                  </a:lnTo>
                  <a:lnTo>
                    <a:pt x="15" y="201"/>
                  </a:lnTo>
                  <a:lnTo>
                    <a:pt x="18" y="201"/>
                  </a:lnTo>
                  <a:lnTo>
                    <a:pt x="21" y="200"/>
                  </a:lnTo>
                  <a:lnTo>
                    <a:pt x="23" y="199"/>
                  </a:lnTo>
                  <a:lnTo>
                    <a:pt x="25" y="196"/>
                  </a:lnTo>
                  <a:lnTo>
                    <a:pt x="196" y="26"/>
                  </a:lnTo>
                  <a:lnTo>
                    <a:pt x="198" y="24"/>
                  </a:lnTo>
                  <a:lnTo>
                    <a:pt x="200" y="21"/>
                  </a:lnTo>
                  <a:lnTo>
                    <a:pt x="200" y="18"/>
                  </a:lnTo>
                  <a:lnTo>
                    <a:pt x="201" y="15"/>
                  </a:lnTo>
                  <a:lnTo>
                    <a:pt x="200" y="12"/>
                  </a:lnTo>
                  <a:lnTo>
                    <a:pt x="200" y="10"/>
                  </a:lnTo>
                  <a:lnTo>
                    <a:pt x="198" y="7"/>
                  </a:lnTo>
                  <a:lnTo>
                    <a:pt x="196" y="4"/>
                  </a:lnTo>
                  <a:lnTo>
                    <a:pt x="194" y="2"/>
                  </a:lnTo>
                  <a:lnTo>
                    <a:pt x="192" y="1"/>
                  </a:lnTo>
                  <a:lnTo>
                    <a:pt x="188" y="0"/>
                  </a:lnTo>
                  <a:lnTo>
                    <a:pt x="186" y="0"/>
                  </a:lnTo>
                  <a:lnTo>
                    <a:pt x="183" y="0"/>
                  </a:lnTo>
                  <a:lnTo>
                    <a:pt x="180" y="1"/>
                  </a:lnTo>
                  <a:lnTo>
                    <a:pt x="178" y="2"/>
                  </a:lnTo>
                  <a:lnTo>
                    <a:pt x="175"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16">
              <a:extLst>
                <a:ext uri="{FF2B5EF4-FFF2-40B4-BE49-F238E27FC236}">
                  <a16:creationId xmlns:a16="http://schemas.microsoft.com/office/drawing/2014/main" id="{14DC3BD5-14AD-43C1-9297-014C321D2489}"/>
                </a:ext>
              </a:extLst>
            </p:cNvPr>
            <p:cNvSpPr>
              <a:spLocks/>
            </p:cNvSpPr>
            <p:nvPr/>
          </p:nvSpPr>
          <p:spPr bwMode="auto">
            <a:xfrm>
              <a:off x="5114925" y="771525"/>
              <a:ext cx="63500" cy="63500"/>
            </a:xfrm>
            <a:custGeom>
              <a:avLst/>
              <a:gdLst>
                <a:gd name="T0" fmla="*/ 15 w 200"/>
                <a:gd name="T1" fmla="*/ 201 h 201"/>
                <a:gd name="T2" fmla="*/ 18 w 200"/>
                <a:gd name="T3" fmla="*/ 201 h 201"/>
                <a:gd name="T4" fmla="*/ 20 w 200"/>
                <a:gd name="T5" fmla="*/ 200 h 201"/>
                <a:gd name="T6" fmla="*/ 24 w 200"/>
                <a:gd name="T7" fmla="*/ 198 h 201"/>
                <a:gd name="T8" fmla="*/ 26 w 200"/>
                <a:gd name="T9" fmla="*/ 197 h 201"/>
                <a:gd name="T10" fmla="*/ 196 w 200"/>
                <a:gd name="T11" fmla="*/ 26 h 201"/>
                <a:gd name="T12" fmla="*/ 198 w 200"/>
                <a:gd name="T13" fmla="*/ 23 h 201"/>
                <a:gd name="T14" fmla="*/ 199 w 200"/>
                <a:gd name="T15" fmla="*/ 21 h 201"/>
                <a:gd name="T16" fmla="*/ 200 w 200"/>
                <a:gd name="T17" fmla="*/ 18 h 201"/>
                <a:gd name="T18" fmla="*/ 200 w 200"/>
                <a:gd name="T19" fmla="*/ 15 h 201"/>
                <a:gd name="T20" fmla="*/ 200 w 200"/>
                <a:gd name="T21" fmla="*/ 13 h 201"/>
                <a:gd name="T22" fmla="*/ 199 w 200"/>
                <a:gd name="T23" fmla="*/ 10 h 201"/>
                <a:gd name="T24" fmla="*/ 198 w 200"/>
                <a:gd name="T25" fmla="*/ 7 h 201"/>
                <a:gd name="T26" fmla="*/ 196 w 200"/>
                <a:gd name="T27" fmla="*/ 5 h 201"/>
                <a:gd name="T28" fmla="*/ 194 w 200"/>
                <a:gd name="T29" fmla="*/ 3 h 201"/>
                <a:gd name="T30" fmla="*/ 191 w 200"/>
                <a:gd name="T31" fmla="*/ 2 h 201"/>
                <a:gd name="T32" fmla="*/ 189 w 200"/>
                <a:gd name="T33" fmla="*/ 1 h 201"/>
                <a:gd name="T34" fmla="*/ 185 w 200"/>
                <a:gd name="T35" fmla="*/ 0 h 201"/>
                <a:gd name="T36" fmla="*/ 182 w 200"/>
                <a:gd name="T37" fmla="*/ 1 h 201"/>
                <a:gd name="T38" fmla="*/ 180 w 200"/>
                <a:gd name="T39" fmla="*/ 2 h 201"/>
                <a:gd name="T40" fmla="*/ 177 w 200"/>
                <a:gd name="T41" fmla="*/ 3 h 201"/>
                <a:gd name="T42" fmla="*/ 175 w 200"/>
                <a:gd name="T43" fmla="*/ 5 h 201"/>
                <a:gd name="T44" fmla="*/ 4 w 200"/>
                <a:gd name="T45" fmla="*/ 176 h 201"/>
                <a:gd name="T46" fmla="*/ 2 w 200"/>
                <a:gd name="T47" fmla="*/ 178 h 201"/>
                <a:gd name="T48" fmla="*/ 1 w 200"/>
                <a:gd name="T49" fmla="*/ 180 h 201"/>
                <a:gd name="T50" fmla="*/ 0 w 200"/>
                <a:gd name="T51" fmla="*/ 183 h 201"/>
                <a:gd name="T52" fmla="*/ 0 w 200"/>
                <a:gd name="T53" fmla="*/ 186 h 201"/>
                <a:gd name="T54" fmla="*/ 0 w 200"/>
                <a:gd name="T55" fmla="*/ 189 h 201"/>
                <a:gd name="T56" fmla="*/ 1 w 200"/>
                <a:gd name="T57" fmla="*/ 192 h 201"/>
                <a:gd name="T58" fmla="*/ 2 w 200"/>
                <a:gd name="T59" fmla="*/ 194 h 201"/>
                <a:gd name="T60" fmla="*/ 4 w 200"/>
                <a:gd name="T61" fmla="*/ 197 h 201"/>
                <a:gd name="T62" fmla="*/ 6 w 200"/>
                <a:gd name="T63" fmla="*/ 198 h 201"/>
                <a:gd name="T64" fmla="*/ 10 w 200"/>
                <a:gd name="T65" fmla="*/ 200 h 201"/>
                <a:gd name="T66" fmla="*/ 12 w 200"/>
                <a:gd name="T67" fmla="*/ 201 h 201"/>
                <a:gd name="T68" fmla="*/ 15 w 200"/>
                <a:gd name="T69"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0" h="201">
                  <a:moveTo>
                    <a:pt x="15" y="201"/>
                  </a:moveTo>
                  <a:lnTo>
                    <a:pt x="18" y="201"/>
                  </a:lnTo>
                  <a:lnTo>
                    <a:pt x="20" y="200"/>
                  </a:lnTo>
                  <a:lnTo>
                    <a:pt x="24" y="198"/>
                  </a:lnTo>
                  <a:lnTo>
                    <a:pt x="26" y="197"/>
                  </a:lnTo>
                  <a:lnTo>
                    <a:pt x="196" y="26"/>
                  </a:lnTo>
                  <a:lnTo>
                    <a:pt x="198" y="23"/>
                  </a:lnTo>
                  <a:lnTo>
                    <a:pt x="199" y="21"/>
                  </a:lnTo>
                  <a:lnTo>
                    <a:pt x="200" y="18"/>
                  </a:lnTo>
                  <a:lnTo>
                    <a:pt x="200" y="15"/>
                  </a:lnTo>
                  <a:lnTo>
                    <a:pt x="200" y="13"/>
                  </a:lnTo>
                  <a:lnTo>
                    <a:pt x="199" y="10"/>
                  </a:lnTo>
                  <a:lnTo>
                    <a:pt x="198" y="7"/>
                  </a:lnTo>
                  <a:lnTo>
                    <a:pt x="196" y="5"/>
                  </a:lnTo>
                  <a:lnTo>
                    <a:pt x="194" y="3"/>
                  </a:lnTo>
                  <a:lnTo>
                    <a:pt x="191" y="2"/>
                  </a:lnTo>
                  <a:lnTo>
                    <a:pt x="189" y="1"/>
                  </a:lnTo>
                  <a:lnTo>
                    <a:pt x="185" y="0"/>
                  </a:lnTo>
                  <a:lnTo>
                    <a:pt x="182" y="1"/>
                  </a:lnTo>
                  <a:lnTo>
                    <a:pt x="180" y="2"/>
                  </a:lnTo>
                  <a:lnTo>
                    <a:pt x="177" y="3"/>
                  </a:lnTo>
                  <a:lnTo>
                    <a:pt x="175" y="5"/>
                  </a:lnTo>
                  <a:lnTo>
                    <a:pt x="4" y="176"/>
                  </a:lnTo>
                  <a:lnTo>
                    <a:pt x="2" y="178"/>
                  </a:lnTo>
                  <a:lnTo>
                    <a:pt x="1" y="180"/>
                  </a:lnTo>
                  <a:lnTo>
                    <a:pt x="0" y="183"/>
                  </a:lnTo>
                  <a:lnTo>
                    <a:pt x="0" y="186"/>
                  </a:lnTo>
                  <a:lnTo>
                    <a:pt x="0" y="189"/>
                  </a:lnTo>
                  <a:lnTo>
                    <a:pt x="1" y="192"/>
                  </a:lnTo>
                  <a:lnTo>
                    <a:pt x="2" y="194"/>
                  </a:lnTo>
                  <a:lnTo>
                    <a:pt x="4" y="197"/>
                  </a:lnTo>
                  <a:lnTo>
                    <a:pt x="6" y="198"/>
                  </a:lnTo>
                  <a:lnTo>
                    <a:pt x="10" y="200"/>
                  </a:lnTo>
                  <a:lnTo>
                    <a:pt x="12" y="201"/>
                  </a:lnTo>
                  <a:lnTo>
                    <a:pt x="15"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17">
              <a:extLst>
                <a:ext uri="{FF2B5EF4-FFF2-40B4-BE49-F238E27FC236}">
                  <a16:creationId xmlns:a16="http://schemas.microsoft.com/office/drawing/2014/main" id="{526FADCB-70CC-42B3-B0E7-591D3A4FB304}"/>
                </a:ext>
              </a:extLst>
            </p:cNvPr>
            <p:cNvSpPr>
              <a:spLocks/>
            </p:cNvSpPr>
            <p:nvPr/>
          </p:nvSpPr>
          <p:spPr bwMode="auto">
            <a:xfrm>
              <a:off x="4891088" y="771525"/>
              <a:ext cx="65088" cy="63500"/>
            </a:xfrm>
            <a:custGeom>
              <a:avLst/>
              <a:gdLst>
                <a:gd name="T0" fmla="*/ 175 w 201"/>
                <a:gd name="T1" fmla="*/ 197 h 201"/>
                <a:gd name="T2" fmla="*/ 178 w 201"/>
                <a:gd name="T3" fmla="*/ 198 h 201"/>
                <a:gd name="T4" fmla="*/ 180 w 201"/>
                <a:gd name="T5" fmla="*/ 200 h 201"/>
                <a:gd name="T6" fmla="*/ 183 w 201"/>
                <a:gd name="T7" fmla="*/ 201 h 201"/>
                <a:gd name="T8" fmla="*/ 186 w 201"/>
                <a:gd name="T9" fmla="*/ 201 h 201"/>
                <a:gd name="T10" fmla="*/ 188 w 201"/>
                <a:gd name="T11" fmla="*/ 201 h 201"/>
                <a:gd name="T12" fmla="*/ 192 w 201"/>
                <a:gd name="T13" fmla="*/ 200 h 201"/>
                <a:gd name="T14" fmla="*/ 194 w 201"/>
                <a:gd name="T15" fmla="*/ 198 h 201"/>
                <a:gd name="T16" fmla="*/ 196 w 201"/>
                <a:gd name="T17" fmla="*/ 197 h 201"/>
                <a:gd name="T18" fmla="*/ 198 w 201"/>
                <a:gd name="T19" fmla="*/ 194 h 201"/>
                <a:gd name="T20" fmla="*/ 200 w 201"/>
                <a:gd name="T21" fmla="*/ 192 h 201"/>
                <a:gd name="T22" fmla="*/ 200 w 201"/>
                <a:gd name="T23" fmla="*/ 189 h 201"/>
                <a:gd name="T24" fmla="*/ 201 w 201"/>
                <a:gd name="T25" fmla="*/ 186 h 201"/>
                <a:gd name="T26" fmla="*/ 200 w 201"/>
                <a:gd name="T27" fmla="*/ 183 h 201"/>
                <a:gd name="T28" fmla="*/ 200 w 201"/>
                <a:gd name="T29" fmla="*/ 181 h 201"/>
                <a:gd name="T30" fmla="*/ 198 w 201"/>
                <a:gd name="T31" fmla="*/ 178 h 201"/>
                <a:gd name="T32" fmla="*/ 196 w 201"/>
                <a:gd name="T33" fmla="*/ 176 h 201"/>
                <a:gd name="T34" fmla="*/ 25 w 201"/>
                <a:gd name="T35" fmla="*/ 5 h 201"/>
                <a:gd name="T36" fmla="*/ 23 w 201"/>
                <a:gd name="T37" fmla="*/ 3 h 201"/>
                <a:gd name="T38" fmla="*/ 21 w 201"/>
                <a:gd name="T39" fmla="*/ 2 h 201"/>
                <a:gd name="T40" fmla="*/ 18 w 201"/>
                <a:gd name="T41" fmla="*/ 1 h 201"/>
                <a:gd name="T42" fmla="*/ 15 w 201"/>
                <a:gd name="T43" fmla="*/ 0 h 201"/>
                <a:gd name="T44" fmla="*/ 13 w 201"/>
                <a:gd name="T45" fmla="*/ 1 h 201"/>
                <a:gd name="T46" fmla="*/ 9 w 201"/>
                <a:gd name="T47" fmla="*/ 2 h 201"/>
                <a:gd name="T48" fmla="*/ 7 w 201"/>
                <a:gd name="T49" fmla="*/ 3 h 201"/>
                <a:gd name="T50" fmla="*/ 4 w 201"/>
                <a:gd name="T51" fmla="*/ 5 h 201"/>
                <a:gd name="T52" fmla="*/ 3 w 201"/>
                <a:gd name="T53" fmla="*/ 7 h 201"/>
                <a:gd name="T54" fmla="*/ 1 w 201"/>
                <a:gd name="T55" fmla="*/ 10 h 201"/>
                <a:gd name="T56" fmla="*/ 1 w 201"/>
                <a:gd name="T57" fmla="*/ 13 h 201"/>
                <a:gd name="T58" fmla="*/ 0 w 201"/>
                <a:gd name="T59" fmla="*/ 16 h 201"/>
                <a:gd name="T60" fmla="*/ 1 w 201"/>
                <a:gd name="T61" fmla="*/ 18 h 201"/>
                <a:gd name="T62" fmla="*/ 1 w 201"/>
                <a:gd name="T63" fmla="*/ 21 h 201"/>
                <a:gd name="T64" fmla="*/ 3 w 201"/>
                <a:gd name="T65" fmla="*/ 23 h 201"/>
                <a:gd name="T66" fmla="*/ 4 w 201"/>
                <a:gd name="T67" fmla="*/ 27 h 201"/>
                <a:gd name="T68" fmla="*/ 175 w 201"/>
                <a:gd name="T69" fmla="*/ 197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01" h="201">
                  <a:moveTo>
                    <a:pt x="175" y="197"/>
                  </a:moveTo>
                  <a:lnTo>
                    <a:pt x="178" y="198"/>
                  </a:lnTo>
                  <a:lnTo>
                    <a:pt x="180" y="200"/>
                  </a:lnTo>
                  <a:lnTo>
                    <a:pt x="183" y="201"/>
                  </a:lnTo>
                  <a:lnTo>
                    <a:pt x="186" y="201"/>
                  </a:lnTo>
                  <a:lnTo>
                    <a:pt x="188" y="201"/>
                  </a:lnTo>
                  <a:lnTo>
                    <a:pt x="192" y="200"/>
                  </a:lnTo>
                  <a:lnTo>
                    <a:pt x="194" y="198"/>
                  </a:lnTo>
                  <a:lnTo>
                    <a:pt x="196" y="197"/>
                  </a:lnTo>
                  <a:lnTo>
                    <a:pt x="198" y="194"/>
                  </a:lnTo>
                  <a:lnTo>
                    <a:pt x="200" y="192"/>
                  </a:lnTo>
                  <a:lnTo>
                    <a:pt x="200" y="189"/>
                  </a:lnTo>
                  <a:lnTo>
                    <a:pt x="201" y="186"/>
                  </a:lnTo>
                  <a:lnTo>
                    <a:pt x="200" y="183"/>
                  </a:lnTo>
                  <a:lnTo>
                    <a:pt x="200" y="181"/>
                  </a:lnTo>
                  <a:lnTo>
                    <a:pt x="198" y="178"/>
                  </a:lnTo>
                  <a:lnTo>
                    <a:pt x="196" y="176"/>
                  </a:lnTo>
                  <a:lnTo>
                    <a:pt x="25" y="5"/>
                  </a:lnTo>
                  <a:lnTo>
                    <a:pt x="23" y="3"/>
                  </a:lnTo>
                  <a:lnTo>
                    <a:pt x="21" y="2"/>
                  </a:lnTo>
                  <a:lnTo>
                    <a:pt x="18" y="1"/>
                  </a:lnTo>
                  <a:lnTo>
                    <a:pt x="15" y="0"/>
                  </a:lnTo>
                  <a:lnTo>
                    <a:pt x="13" y="1"/>
                  </a:lnTo>
                  <a:lnTo>
                    <a:pt x="9" y="2"/>
                  </a:lnTo>
                  <a:lnTo>
                    <a:pt x="7" y="3"/>
                  </a:lnTo>
                  <a:lnTo>
                    <a:pt x="4" y="5"/>
                  </a:lnTo>
                  <a:lnTo>
                    <a:pt x="3" y="7"/>
                  </a:lnTo>
                  <a:lnTo>
                    <a:pt x="1" y="10"/>
                  </a:lnTo>
                  <a:lnTo>
                    <a:pt x="1" y="13"/>
                  </a:lnTo>
                  <a:lnTo>
                    <a:pt x="0" y="16"/>
                  </a:lnTo>
                  <a:lnTo>
                    <a:pt x="1" y="18"/>
                  </a:lnTo>
                  <a:lnTo>
                    <a:pt x="1" y="21"/>
                  </a:lnTo>
                  <a:lnTo>
                    <a:pt x="3" y="23"/>
                  </a:lnTo>
                  <a:lnTo>
                    <a:pt x="4" y="27"/>
                  </a:lnTo>
                  <a:lnTo>
                    <a:pt x="175" y="1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6" name="TextBox 15">
            <a:extLst>
              <a:ext uri="{FF2B5EF4-FFF2-40B4-BE49-F238E27FC236}">
                <a16:creationId xmlns:a16="http://schemas.microsoft.com/office/drawing/2014/main" id="{792A22CF-3BF0-41F0-85B6-6D9872A40F38}"/>
              </a:ext>
            </a:extLst>
          </p:cNvPr>
          <p:cNvSpPr txBox="1"/>
          <p:nvPr/>
        </p:nvSpPr>
        <p:spPr>
          <a:xfrm>
            <a:off x="1200661" y="2569699"/>
            <a:ext cx="696719" cy="178193"/>
          </a:xfrm>
          <a:prstGeom prst="roundRect">
            <a:avLst>
              <a:gd name="adj" fmla="val 50000"/>
            </a:avLst>
          </a:prstGeom>
          <a:solidFill>
            <a:schemeClr val="accent1"/>
          </a:solidFill>
        </p:spPr>
        <p:txBody>
          <a:bodyPr wrap="none" rtlCol="0" anchor="ctr">
            <a:noAutofit/>
          </a:bodyPr>
          <a:lstStyle/>
          <a:p>
            <a:pPr algn="ctr" defTabSz="609585" eaLnBrk="1" fontAlgn="auto" hangingPunct="1">
              <a:spcBef>
                <a:spcPts val="0"/>
              </a:spcBef>
              <a:spcAft>
                <a:spcPts val="0"/>
              </a:spcAft>
            </a:pPr>
            <a:endParaRPr lang="en-US" sz="1100" b="1" dirty="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2F91B544-B2D7-42F5-97B3-AA2B90ABFC66}"/>
              </a:ext>
            </a:extLst>
          </p:cNvPr>
          <p:cNvSpPr txBox="1"/>
          <p:nvPr/>
        </p:nvSpPr>
        <p:spPr>
          <a:xfrm>
            <a:off x="4835401" y="2569699"/>
            <a:ext cx="696719" cy="178193"/>
          </a:xfrm>
          <a:prstGeom prst="roundRect">
            <a:avLst>
              <a:gd name="adj" fmla="val 50000"/>
            </a:avLst>
          </a:prstGeom>
          <a:solidFill>
            <a:schemeClr val="accent1"/>
          </a:solidFill>
        </p:spPr>
        <p:txBody>
          <a:bodyPr wrap="none" rtlCol="0" anchor="ctr">
            <a:noAutofit/>
          </a:bodyPr>
          <a:lstStyle/>
          <a:p>
            <a:pPr algn="ctr" defTabSz="609585" eaLnBrk="1" fontAlgn="auto" hangingPunct="1">
              <a:spcBef>
                <a:spcPts val="0"/>
              </a:spcBef>
              <a:spcAft>
                <a:spcPts val="0"/>
              </a:spcAft>
            </a:pPr>
            <a:endParaRPr lang="en-US" sz="1100" b="1" dirty="0">
              <a:solidFill>
                <a:prstClr val="white"/>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62F626BC-E5B2-470C-B8D5-F2BACF749CBB}"/>
              </a:ext>
            </a:extLst>
          </p:cNvPr>
          <p:cNvSpPr txBox="1"/>
          <p:nvPr/>
        </p:nvSpPr>
        <p:spPr>
          <a:xfrm>
            <a:off x="8470141" y="2569699"/>
            <a:ext cx="696719" cy="178193"/>
          </a:xfrm>
          <a:prstGeom prst="roundRect">
            <a:avLst>
              <a:gd name="adj" fmla="val 50000"/>
            </a:avLst>
          </a:prstGeom>
          <a:solidFill>
            <a:schemeClr val="accent1"/>
          </a:solidFill>
        </p:spPr>
        <p:txBody>
          <a:bodyPr wrap="none" rtlCol="0" anchor="ctr">
            <a:noAutofit/>
          </a:bodyPr>
          <a:lstStyle/>
          <a:p>
            <a:pPr algn="ctr" defTabSz="609585" eaLnBrk="1" fontAlgn="auto" hangingPunct="1">
              <a:spcBef>
                <a:spcPts val="0"/>
              </a:spcBef>
              <a:spcAft>
                <a:spcPts val="0"/>
              </a:spcAft>
            </a:pPr>
            <a:endParaRPr lang="en-US" sz="1100" b="1" dirty="0">
              <a:solidFill>
                <a:prstClr val="white"/>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43F33DB6-8278-430A-A6FC-CD6DA1E40A99}"/>
              </a:ext>
            </a:extLst>
          </p:cNvPr>
          <p:cNvSpPr>
            <a:spLocks noGrp="1"/>
          </p:cNvSpPr>
          <p:nvPr>
            <p:ph type="title"/>
          </p:nvPr>
        </p:nvSpPr>
        <p:spPr/>
        <p:txBody>
          <a:bodyPr/>
          <a:lstStyle/>
          <a:p>
            <a:r>
              <a:rPr lang="en-US" dirty="0"/>
              <a:t>Determination Notification</a:t>
            </a:r>
          </a:p>
        </p:txBody>
      </p:sp>
      <p:sp>
        <p:nvSpPr>
          <p:cNvPr id="4" name="Slide Number Placeholder 3">
            <a:extLst>
              <a:ext uri="{FF2B5EF4-FFF2-40B4-BE49-F238E27FC236}">
                <a16:creationId xmlns:a16="http://schemas.microsoft.com/office/drawing/2014/main" id="{0533B522-FF30-4DB6-9FE4-28C313018C92}"/>
              </a:ext>
            </a:extLst>
          </p:cNvPr>
          <p:cNvSpPr>
            <a:spLocks noGrp="1"/>
          </p:cNvSpPr>
          <p:nvPr>
            <p:ph type="sldNum" sz="quarter" idx="10"/>
          </p:nvPr>
        </p:nvSpPr>
        <p:spPr/>
        <p:txBody>
          <a:bodyPr/>
          <a:lstStyle/>
          <a:p>
            <a:fld id="{E1D6E511-78F2-1D4C-8218-60E971E66380}" type="slidenum">
              <a:rPr lang="en-US" altLang="en-US" smtClean="0"/>
              <a:pPr/>
              <a:t>13</a:t>
            </a:fld>
            <a:endParaRPr lang="en-US" altLang="en-US" dirty="0"/>
          </a:p>
        </p:txBody>
      </p:sp>
      <p:sp>
        <p:nvSpPr>
          <p:cNvPr id="8" name="Rectangle: Rounded Corners 7">
            <a:extLst>
              <a:ext uri="{FF2B5EF4-FFF2-40B4-BE49-F238E27FC236}">
                <a16:creationId xmlns:a16="http://schemas.microsoft.com/office/drawing/2014/main" id="{0FDDCED2-1817-4361-A03F-60F97B1B6D9E}"/>
              </a:ext>
            </a:extLst>
          </p:cNvPr>
          <p:cNvSpPr/>
          <p:nvPr/>
        </p:nvSpPr>
        <p:spPr>
          <a:xfrm>
            <a:off x="838200" y="2641599"/>
            <a:ext cx="3432241" cy="2685143"/>
          </a:xfrm>
          <a:prstGeom prst="roundRect">
            <a:avLst>
              <a:gd name="adj" fmla="val 10648"/>
            </a:avLst>
          </a:prstGeom>
          <a:solidFill>
            <a:schemeClr val="bg1"/>
          </a:solidFill>
          <a:ln>
            <a:solidFill>
              <a:schemeClr val="bg1">
                <a:lumMod val="95000"/>
              </a:schemeClr>
            </a:solidFill>
          </a:ln>
        </p:spPr>
        <p:txBody>
          <a:bodyPr lIns="182880" tIns="274320" rIns="182880" rtlCol="0" anchor="t">
            <a:noAutofit/>
          </a:bodyPr>
          <a:lstStyle/>
          <a:p>
            <a:r>
              <a:rPr lang="en-US" dirty="0"/>
              <a:t>Based on our findings, a determination is made and a </a:t>
            </a:r>
            <a:r>
              <a:rPr lang="en-US" sz="1800" dirty="0">
                <a:effectLst/>
                <a:latin typeface="Tahoma" panose="020B0604030504040204" pitchFamily="34" charset="0"/>
                <a:ea typeface="Tahoma" panose="020B0604030504040204" pitchFamily="34" charset="0"/>
              </a:rPr>
              <a:t>Notice of Adverse Action, Overpayment</a:t>
            </a:r>
            <a:r>
              <a:rPr lang="en-US" sz="1800" spc="-35" dirty="0">
                <a:effectLst/>
                <a:latin typeface="Tahoma" panose="020B0604030504040204" pitchFamily="34" charset="0"/>
                <a:ea typeface="Tahoma" panose="020B0604030504040204" pitchFamily="34" charset="0"/>
              </a:rPr>
              <a:t> </a:t>
            </a:r>
            <a:r>
              <a:rPr lang="en-US" sz="1800" dirty="0">
                <a:effectLst/>
                <a:latin typeface="Tahoma" panose="020B0604030504040204" pitchFamily="34" charset="0"/>
                <a:ea typeface="Tahoma" panose="020B0604030504040204" pitchFamily="34" charset="0"/>
              </a:rPr>
              <a:t>Determination letter </a:t>
            </a:r>
            <a:r>
              <a:rPr lang="en-US" sz="1800" b="1" dirty="0">
                <a:effectLst/>
                <a:latin typeface="Tahoma" panose="020B0604030504040204" pitchFamily="34" charset="0"/>
                <a:ea typeface="Tahoma" panose="020B0604030504040204" pitchFamily="34" charset="0"/>
              </a:rPr>
              <a:t>or</a:t>
            </a:r>
            <a:r>
              <a:rPr lang="en-US" sz="1800" dirty="0">
                <a:effectLst/>
                <a:latin typeface="Tahoma" panose="020B0604030504040204" pitchFamily="34" charset="0"/>
                <a:ea typeface="Tahoma" panose="020B0604030504040204" pitchFamily="34" charset="0"/>
              </a:rPr>
              <a:t> a No Overpayment</a:t>
            </a:r>
            <a:r>
              <a:rPr lang="en-US" sz="1800" spc="-10" dirty="0">
                <a:effectLst/>
                <a:latin typeface="Tahoma" panose="020B0604030504040204" pitchFamily="34" charset="0"/>
                <a:ea typeface="Tahoma" panose="020B0604030504040204" pitchFamily="34" charset="0"/>
              </a:rPr>
              <a:t> </a:t>
            </a:r>
            <a:r>
              <a:rPr lang="en-US" sz="1800" dirty="0">
                <a:effectLst/>
                <a:latin typeface="Tahoma" panose="020B0604030504040204" pitchFamily="34" charset="0"/>
                <a:ea typeface="Tahoma" panose="020B0604030504040204" pitchFamily="34" charset="0"/>
              </a:rPr>
              <a:t>Found letter </a:t>
            </a:r>
            <a:r>
              <a:rPr lang="en-US" dirty="0"/>
              <a:t>is mailed to you informing you of the results. </a:t>
            </a:r>
          </a:p>
        </p:txBody>
      </p:sp>
      <p:sp>
        <p:nvSpPr>
          <p:cNvPr id="9" name="Rectangle: Rounded Corners 8">
            <a:extLst>
              <a:ext uri="{FF2B5EF4-FFF2-40B4-BE49-F238E27FC236}">
                <a16:creationId xmlns:a16="http://schemas.microsoft.com/office/drawing/2014/main" id="{0A69AEF3-96C5-4ECA-96AD-48626854F196}"/>
              </a:ext>
            </a:extLst>
          </p:cNvPr>
          <p:cNvSpPr/>
          <p:nvPr/>
        </p:nvSpPr>
        <p:spPr>
          <a:xfrm>
            <a:off x="4379878" y="2650102"/>
            <a:ext cx="3432243" cy="2685143"/>
          </a:xfrm>
          <a:prstGeom prst="roundRect">
            <a:avLst>
              <a:gd name="adj" fmla="val 10648"/>
            </a:avLst>
          </a:prstGeom>
          <a:solidFill>
            <a:schemeClr val="bg1"/>
          </a:solidFill>
          <a:ln>
            <a:solidFill>
              <a:schemeClr val="bg1">
                <a:lumMod val="95000"/>
              </a:schemeClr>
            </a:solidFill>
          </a:ln>
        </p:spPr>
        <p:txBody>
          <a:bodyPr lIns="182880" tIns="274320" rIns="182880" rtlCol="0" anchor="t">
            <a:noAutofit/>
          </a:bodyPr>
          <a:lstStyle/>
          <a:p>
            <a:r>
              <a:rPr lang="en-US" dirty="0"/>
              <a:t>Letters will be mailed certified and emailed via the provider portal.</a:t>
            </a:r>
          </a:p>
          <a:p>
            <a:endParaRPr lang="en-US" dirty="0"/>
          </a:p>
        </p:txBody>
      </p:sp>
      <p:sp>
        <p:nvSpPr>
          <p:cNvPr id="11" name="Rectangle: Rounded Corners 10">
            <a:extLst>
              <a:ext uri="{FF2B5EF4-FFF2-40B4-BE49-F238E27FC236}">
                <a16:creationId xmlns:a16="http://schemas.microsoft.com/office/drawing/2014/main" id="{490F2CFD-3181-4935-8367-727E825FD1FF}"/>
              </a:ext>
            </a:extLst>
          </p:cNvPr>
          <p:cNvSpPr/>
          <p:nvPr/>
        </p:nvSpPr>
        <p:spPr>
          <a:xfrm>
            <a:off x="8098614" y="2658607"/>
            <a:ext cx="3645711" cy="2668135"/>
          </a:xfrm>
          <a:prstGeom prst="roundRect">
            <a:avLst>
              <a:gd name="adj" fmla="val 10648"/>
            </a:avLst>
          </a:prstGeom>
          <a:solidFill>
            <a:schemeClr val="bg1"/>
          </a:solidFill>
          <a:ln>
            <a:solidFill>
              <a:schemeClr val="bg1">
                <a:lumMod val="95000"/>
              </a:schemeClr>
            </a:solidFill>
          </a:ln>
        </p:spPr>
        <p:txBody>
          <a:bodyPr lIns="182880" tIns="274320" rIns="182880" rtlCol="0" anchor="t">
            <a:noAutofit/>
          </a:bodyPr>
          <a:lstStyle/>
          <a:p>
            <a:r>
              <a:rPr lang="en-US" dirty="0"/>
              <a:t>Provider Contact Notification Letters can be mailed to a different address than the Medical Request Records letter.  Address can be updated via the provider portal or with provider services.</a:t>
            </a:r>
          </a:p>
        </p:txBody>
      </p:sp>
      <p:sp>
        <p:nvSpPr>
          <p:cNvPr id="39" name="Footer Placeholder 3">
            <a:extLst>
              <a:ext uri="{FF2B5EF4-FFF2-40B4-BE49-F238E27FC236}">
                <a16:creationId xmlns:a16="http://schemas.microsoft.com/office/drawing/2014/main" id="{D0314EBB-5BA3-43B7-B190-F6DBB910F147}"/>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pic>
        <p:nvPicPr>
          <p:cNvPr id="5" name="Graphic 4" descr="Signature outline">
            <a:extLst>
              <a:ext uri="{FF2B5EF4-FFF2-40B4-BE49-F238E27FC236}">
                <a16:creationId xmlns:a16="http://schemas.microsoft.com/office/drawing/2014/main" id="{745CC134-9A13-8DBD-52D0-C102AA01CA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16167" y="1947675"/>
            <a:ext cx="525190" cy="513191"/>
          </a:xfrm>
          <a:prstGeom prst="rect">
            <a:avLst/>
          </a:prstGeom>
        </p:spPr>
      </p:pic>
      <p:pic>
        <p:nvPicPr>
          <p:cNvPr id="7" name="Graphic 6" descr="Address Book outline">
            <a:extLst>
              <a:ext uri="{FF2B5EF4-FFF2-40B4-BE49-F238E27FC236}">
                <a16:creationId xmlns:a16="http://schemas.microsoft.com/office/drawing/2014/main" id="{BD75CB78-9B59-96C8-28E3-AB9D52E5CEF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19150" y="1958844"/>
            <a:ext cx="598700" cy="598700"/>
          </a:xfrm>
          <a:prstGeom prst="rect">
            <a:avLst/>
          </a:prstGeom>
        </p:spPr>
      </p:pic>
    </p:spTree>
    <p:extLst>
      <p:ext uri="{BB962C8B-B14F-4D97-AF65-F5344CB8AC3E}">
        <p14:creationId xmlns:p14="http://schemas.microsoft.com/office/powerpoint/2010/main" val="2377932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a:xfrm>
            <a:off x="455967" y="133345"/>
            <a:ext cx="7219156" cy="1309255"/>
          </a:xfrm>
        </p:spPr>
        <p:txBody>
          <a:bodyPr/>
          <a:lstStyle/>
          <a:p>
            <a:r>
              <a:rPr lang="en-US" dirty="0"/>
              <a:t>Determination Letters</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fld id="{E1D6E511-78F2-1D4C-8218-60E971E66380}" type="slidenum">
              <a:rPr lang="en-US" altLang="en-US" smtClean="0"/>
              <a:pPr/>
              <a:t>14</a:t>
            </a:fld>
            <a:endParaRPr lang="en-US" altLang="en-US" dirty="0"/>
          </a:p>
        </p:txBody>
      </p:sp>
      <p:sp>
        <p:nvSpPr>
          <p:cNvPr id="50" name="Rectangle 49">
            <a:extLst>
              <a:ext uri="{FF2B5EF4-FFF2-40B4-BE49-F238E27FC236}">
                <a16:creationId xmlns:a16="http://schemas.microsoft.com/office/drawing/2014/main" id="{B8AE8EC5-B231-4A09-9A55-84EC9E809450}"/>
              </a:ext>
            </a:extLst>
          </p:cNvPr>
          <p:cNvSpPr/>
          <p:nvPr/>
        </p:nvSpPr>
        <p:spPr>
          <a:xfrm>
            <a:off x="607105" y="1184731"/>
            <a:ext cx="5953660" cy="861774"/>
          </a:xfrm>
          <a:prstGeom prst="rect">
            <a:avLst/>
          </a:prstGeom>
        </p:spPr>
        <p:txBody>
          <a:bodyPr wrap="square" lIns="0" tIns="0" rIns="0" bIns="0">
            <a:spAutoFit/>
          </a:bodyPr>
          <a:lstStyle/>
          <a:p>
            <a:pPr marL="0">
              <a:spcBef>
                <a:spcPts val="0"/>
              </a:spcBef>
              <a:spcAft>
                <a:spcPts val="450"/>
              </a:spcAft>
            </a:pPr>
            <a:r>
              <a:rPr lang="en-US" sz="2800" b="1" kern="2200" spc="-45" dirty="0">
                <a:solidFill>
                  <a:schemeClr val="tx2"/>
                </a:solidFill>
                <a:ea typeface="Calibri" panose="020F0502020204030204" pitchFamily="34" charset="0"/>
              </a:rPr>
              <a:t>Notice of Adverse Action, Overpayment Determination letter</a:t>
            </a:r>
          </a:p>
        </p:txBody>
      </p:sp>
      <p:sp>
        <p:nvSpPr>
          <p:cNvPr id="51" name="Rectangle 50">
            <a:extLst>
              <a:ext uri="{FF2B5EF4-FFF2-40B4-BE49-F238E27FC236}">
                <a16:creationId xmlns:a16="http://schemas.microsoft.com/office/drawing/2014/main" id="{B9124A68-429F-4337-994E-F2D88F0E8887}"/>
              </a:ext>
            </a:extLst>
          </p:cNvPr>
          <p:cNvSpPr/>
          <p:nvPr/>
        </p:nvSpPr>
        <p:spPr>
          <a:xfrm>
            <a:off x="1037660" y="2488754"/>
            <a:ext cx="4991100" cy="1717393"/>
          </a:xfrm>
          <a:prstGeom prst="rect">
            <a:avLst/>
          </a:prstGeom>
        </p:spPr>
        <p:txBody>
          <a:bodyPr wrap="square">
            <a:spAutoFit/>
          </a:bodyPr>
          <a:lstStyle/>
          <a:p>
            <a:pPr marL="285750" lvl="1" indent="-285750">
              <a:lnSpc>
                <a:spcPct val="80000"/>
              </a:lnSpc>
              <a:buClr>
                <a:schemeClr val="accent4"/>
              </a:buClr>
              <a:buFont typeface="Arial" panose="020B0604020202020204" pitchFamily="34" charset="0"/>
              <a:buChar char="•"/>
            </a:pPr>
            <a:r>
              <a:rPr lang="en-US" sz="2200" dirty="0"/>
              <a:t>Indicates that a claim review resulted in a finding of inaccurate billing. </a:t>
            </a:r>
          </a:p>
          <a:p>
            <a:pPr marL="0" lvl="1">
              <a:lnSpc>
                <a:spcPct val="80000"/>
              </a:lnSpc>
              <a:buClr>
                <a:schemeClr val="accent4"/>
              </a:buClr>
            </a:pPr>
            <a:endParaRPr lang="en-US" sz="2200" dirty="0"/>
          </a:p>
          <a:p>
            <a:pPr marL="285750" lvl="1" indent="-285750">
              <a:lnSpc>
                <a:spcPct val="80000"/>
              </a:lnSpc>
              <a:buClr>
                <a:schemeClr val="accent4"/>
              </a:buClr>
              <a:buFont typeface="Arial" panose="020B0604020202020204" pitchFamily="34" charset="0"/>
              <a:buChar char="•"/>
            </a:pPr>
            <a:r>
              <a:rPr lang="en-US" sz="2200" dirty="0"/>
              <a:t>The packet contains two documents:</a:t>
            </a:r>
          </a:p>
        </p:txBody>
      </p:sp>
      <p:sp>
        <p:nvSpPr>
          <p:cNvPr id="56" name="Rectangle: Rounded Corners 55">
            <a:extLst>
              <a:ext uri="{FF2B5EF4-FFF2-40B4-BE49-F238E27FC236}">
                <a16:creationId xmlns:a16="http://schemas.microsoft.com/office/drawing/2014/main" id="{718C5120-C230-46BB-88FE-613BD2C07CE8}"/>
              </a:ext>
            </a:extLst>
          </p:cNvPr>
          <p:cNvSpPr/>
          <p:nvPr/>
        </p:nvSpPr>
        <p:spPr>
          <a:xfrm>
            <a:off x="1485198" y="4529561"/>
            <a:ext cx="460815" cy="460815"/>
          </a:xfrm>
          <a:prstGeom prst="roundRect">
            <a:avLst>
              <a:gd name="adj" fmla="val 50000"/>
            </a:avLst>
          </a:prstGeom>
          <a:ln>
            <a:solidFill>
              <a:schemeClr val="accent1"/>
            </a:solidFill>
          </a:ln>
        </p:spPr>
        <p:txBody>
          <a:bodyPr wrap="none" rtlCol="0" anchor="ctr">
            <a:noAutofit/>
          </a:bodyPr>
          <a:lstStyle/>
          <a:p>
            <a:pPr algn="ctr"/>
            <a:r>
              <a:rPr lang="en-US" b="1" dirty="0">
                <a:solidFill>
                  <a:schemeClr val="bg1">
                    <a:lumMod val="75000"/>
                  </a:schemeClr>
                </a:solidFill>
              </a:rPr>
              <a:t>01</a:t>
            </a:r>
          </a:p>
        </p:txBody>
      </p:sp>
      <p:sp>
        <p:nvSpPr>
          <p:cNvPr id="58" name="Rectangle 57">
            <a:extLst>
              <a:ext uri="{FF2B5EF4-FFF2-40B4-BE49-F238E27FC236}">
                <a16:creationId xmlns:a16="http://schemas.microsoft.com/office/drawing/2014/main" id="{3B8831D7-8E5D-4198-A30F-929A12097565}"/>
              </a:ext>
            </a:extLst>
          </p:cNvPr>
          <p:cNvSpPr/>
          <p:nvPr/>
        </p:nvSpPr>
        <p:spPr>
          <a:xfrm>
            <a:off x="3435520" y="4490614"/>
            <a:ext cx="4031651" cy="523220"/>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Instructions for next steps and requesting an informal reconsideration. </a:t>
            </a:r>
          </a:p>
        </p:txBody>
      </p:sp>
      <p:sp>
        <p:nvSpPr>
          <p:cNvPr id="69" name="Rectangle: Rounded Corners 68">
            <a:extLst>
              <a:ext uri="{FF2B5EF4-FFF2-40B4-BE49-F238E27FC236}">
                <a16:creationId xmlns:a16="http://schemas.microsoft.com/office/drawing/2014/main" id="{ED3A85F0-91EB-44FF-A1D0-CBA9DBC880CD}"/>
              </a:ext>
            </a:extLst>
          </p:cNvPr>
          <p:cNvSpPr/>
          <p:nvPr/>
        </p:nvSpPr>
        <p:spPr>
          <a:xfrm>
            <a:off x="1485198" y="5270007"/>
            <a:ext cx="460815" cy="460815"/>
          </a:xfrm>
          <a:prstGeom prst="roundRect">
            <a:avLst>
              <a:gd name="adj" fmla="val 50000"/>
            </a:avLst>
          </a:prstGeom>
          <a:ln>
            <a:solidFill>
              <a:schemeClr val="accent1"/>
            </a:solidFill>
          </a:ln>
        </p:spPr>
        <p:txBody>
          <a:bodyPr wrap="none" rtlCol="0" anchor="ctr">
            <a:noAutofit/>
          </a:bodyPr>
          <a:lstStyle/>
          <a:p>
            <a:pPr algn="ctr"/>
            <a:r>
              <a:rPr lang="en-US" b="1" dirty="0">
                <a:solidFill>
                  <a:schemeClr val="bg1">
                    <a:lumMod val="75000"/>
                  </a:schemeClr>
                </a:solidFill>
              </a:rPr>
              <a:t>02</a:t>
            </a:r>
          </a:p>
        </p:txBody>
      </p:sp>
      <p:sp>
        <p:nvSpPr>
          <p:cNvPr id="71" name="Rectangle 70">
            <a:extLst>
              <a:ext uri="{FF2B5EF4-FFF2-40B4-BE49-F238E27FC236}">
                <a16:creationId xmlns:a16="http://schemas.microsoft.com/office/drawing/2014/main" id="{E9C42D8F-1F8A-485F-AEC8-B027E4F34B22}"/>
              </a:ext>
            </a:extLst>
          </p:cNvPr>
          <p:cNvSpPr/>
          <p:nvPr/>
        </p:nvSpPr>
        <p:spPr>
          <a:xfrm>
            <a:off x="3402620" y="5166058"/>
            <a:ext cx="3975100" cy="738664"/>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A listing of all claims reviewed and indication of whether each claim was substantiated or identified as an overpayment.</a:t>
            </a:r>
          </a:p>
        </p:txBody>
      </p:sp>
      <p:sp>
        <p:nvSpPr>
          <p:cNvPr id="57" name="Rectangle 56">
            <a:extLst>
              <a:ext uri="{FF2B5EF4-FFF2-40B4-BE49-F238E27FC236}">
                <a16:creationId xmlns:a16="http://schemas.microsoft.com/office/drawing/2014/main" id="{718F9F8E-2155-48FC-86D1-2264EEBB70E9}"/>
              </a:ext>
            </a:extLst>
          </p:cNvPr>
          <p:cNvSpPr/>
          <p:nvPr/>
        </p:nvSpPr>
        <p:spPr>
          <a:xfrm>
            <a:off x="2079419" y="4498359"/>
            <a:ext cx="1504516" cy="523220"/>
          </a:xfrm>
          <a:prstGeom prst="rect">
            <a:avLst/>
          </a:prstGeom>
        </p:spPr>
        <p:txBody>
          <a:bodyPr wrap="square" anchor="ctr">
            <a:spAutoFit/>
          </a:bodyPr>
          <a:lstStyle/>
          <a:p>
            <a:pPr marL="0" lvl="2">
              <a:spcBef>
                <a:spcPts val="0"/>
              </a:spcBef>
            </a:pPr>
            <a:r>
              <a:rPr lang="en-US" sz="1400" b="1" dirty="0">
                <a:solidFill>
                  <a:schemeClr val="accent4"/>
                </a:solidFill>
                <a:ea typeface="Times New Roman" panose="02020603050405020304" pitchFamily="18" charset="0"/>
              </a:rPr>
              <a:t>Cover </a:t>
            </a:r>
            <a:br>
              <a:rPr lang="en-US" sz="1400" b="1" dirty="0">
                <a:solidFill>
                  <a:schemeClr val="accent4"/>
                </a:solidFill>
                <a:ea typeface="Times New Roman" panose="02020603050405020304" pitchFamily="18" charset="0"/>
              </a:rPr>
            </a:br>
            <a:r>
              <a:rPr lang="en-US" sz="1400" b="1" dirty="0">
                <a:solidFill>
                  <a:schemeClr val="accent4"/>
                </a:solidFill>
                <a:ea typeface="Times New Roman" panose="02020603050405020304" pitchFamily="18" charset="0"/>
              </a:rPr>
              <a:t>letter</a:t>
            </a:r>
          </a:p>
        </p:txBody>
      </p:sp>
      <p:sp>
        <p:nvSpPr>
          <p:cNvPr id="70" name="Rectangle 69">
            <a:extLst>
              <a:ext uri="{FF2B5EF4-FFF2-40B4-BE49-F238E27FC236}">
                <a16:creationId xmlns:a16="http://schemas.microsoft.com/office/drawing/2014/main" id="{8EC57CEB-C122-4EF4-B3B8-9554A27A66F9}"/>
              </a:ext>
            </a:extLst>
          </p:cNvPr>
          <p:cNvSpPr/>
          <p:nvPr/>
        </p:nvSpPr>
        <p:spPr>
          <a:xfrm>
            <a:off x="2079419" y="5346525"/>
            <a:ext cx="1729786" cy="307777"/>
          </a:xfrm>
          <a:prstGeom prst="rect">
            <a:avLst/>
          </a:prstGeom>
        </p:spPr>
        <p:txBody>
          <a:bodyPr wrap="square" anchor="ctr">
            <a:spAutoFit/>
          </a:bodyPr>
          <a:lstStyle/>
          <a:p>
            <a:pPr marL="0" lvl="2">
              <a:spcBef>
                <a:spcPts val="0"/>
              </a:spcBef>
            </a:pPr>
            <a:r>
              <a:rPr lang="en-US" sz="1400" b="1" dirty="0">
                <a:solidFill>
                  <a:schemeClr val="accent4"/>
                </a:solidFill>
                <a:ea typeface="Times New Roman" panose="02020603050405020304" pitchFamily="18" charset="0"/>
              </a:rPr>
              <a:t>Audit Detail</a:t>
            </a:r>
          </a:p>
        </p:txBody>
      </p:sp>
      <p:cxnSp>
        <p:nvCxnSpPr>
          <p:cNvPr id="82" name="Straight Connector 81">
            <a:extLst>
              <a:ext uri="{FF2B5EF4-FFF2-40B4-BE49-F238E27FC236}">
                <a16:creationId xmlns:a16="http://schemas.microsoft.com/office/drawing/2014/main" id="{DD4BA030-7965-43B0-8D2C-3E035A8B878F}"/>
              </a:ext>
            </a:extLst>
          </p:cNvPr>
          <p:cNvCxnSpPr>
            <a:cxnSpLocks/>
          </p:cNvCxnSpPr>
          <p:nvPr/>
        </p:nvCxnSpPr>
        <p:spPr>
          <a:xfrm>
            <a:off x="2243991" y="5143332"/>
            <a:ext cx="509706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467693"/>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sp>
        <p:nvSpPr>
          <p:cNvPr id="23" name="Rectangle 22">
            <a:extLst>
              <a:ext uri="{FF2B5EF4-FFF2-40B4-BE49-F238E27FC236}">
                <a16:creationId xmlns:a16="http://schemas.microsoft.com/office/drawing/2014/main" id="{157AB1F4-0638-43BA-B2E6-55B20939CBDE}"/>
              </a:ext>
            </a:extLst>
          </p:cNvPr>
          <p:cNvSpPr/>
          <p:nvPr/>
        </p:nvSpPr>
        <p:spPr>
          <a:xfrm>
            <a:off x="3402620" y="5872035"/>
            <a:ext cx="4008000" cy="738664"/>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An audit detail listing for each denied claim will provide specific clinical rationale to explain why it was denied. </a:t>
            </a:r>
          </a:p>
        </p:txBody>
      </p:sp>
    </p:spTree>
    <p:extLst>
      <p:ext uri="{BB962C8B-B14F-4D97-AF65-F5344CB8AC3E}">
        <p14:creationId xmlns:p14="http://schemas.microsoft.com/office/powerpoint/2010/main" val="32078370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61571B-BD0A-4964-90FD-4E2AD0C7AEAF}"/>
              </a:ext>
            </a:extLst>
          </p:cNvPr>
          <p:cNvSpPr>
            <a:spLocks noGrp="1"/>
          </p:cNvSpPr>
          <p:nvPr>
            <p:ph type="title"/>
          </p:nvPr>
        </p:nvSpPr>
        <p:spPr>
          <a:xfrm>
            <a:off x="831852" y="1788956"/>
            <a:ext cx="8890217" cy="3280089"/>
          </a:xfrm>
        </p:spPr>
        <p:txBody>
          <a:bodyPr anchor="ctr">
            <a:normAutofit/>
          </a:bodyPr>
          <a:lstStyle/>
          <a:p>
            <a:r>
              <a:rPr lang="en-US" sz="5400" dirty="0"/>
              <a:t>Informal Reconsiderations and Appeals</a:t>
            </a:r>
          </a:p>
        </p:txBody>
      </p:sp>
      <p:sp>
        <p:nvSpPr>
          <p:cNvPr id="2" name="Slide Number Placeholder 1">
            <a:extLst>
              <a:ext uri="{FF2B5EF4-FFF2-40B4-BE49-F238E27FC236}">
                <a16:creationId xmlns:a16="http://schemas.microsoft.com/office/drawing/2014/main" id="{AADFAD42-C180-4AA4-B4F5-2616ADC1232E}"/>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87677F-9EE0-1D46-953C-F8704949B36A}"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4" name="Footer Placeholder 5">
            <a:extLst>
              <a:ext uri="{FF2B5EF4-FFF2-40B4-BE49-F238E27FC236}">
                <a16:creationId xmlns:a16="http://schemas.microsoft.com/office/drawing/2014/main" id="{B4A849DF-D2CE-2E56-438A-9B7FF4DBAB7C}"/>
              </a:ext>
            </a:extLst>
          </p:cNvPr>
          <p:cNvSpPr txBox="1">
            <a:spLocks/>
          </p:cNvSpPr>
          <p:nvPr/>
        </p:nvSpPr>
        <p:spPr>
          <a:xfrm>
            <a:off x="838200" y="64928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1691317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A picture containing table, sitting, computer, laptop&#10;&#10;Description automatically generated">
            <a:extLst>
              <a:ext uri="{FF2B5EF4-FFF2-40B4-BE49-F238E27FC236}">
                <a16:creationId xmlns:a16="http://schemas.microsoft.com/office/drawing/2014/main" id="{139DCBF5-4430-2A4B-A2E4-D9EF8A00B8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2116" b="18811"/>
          <a:stretch/>
        </p:blipFill>
        <p:spPr>
          <a:xfrm>
            <a:off x="0" y="1504709"/>
            <a:ext cx="12192000" cy="2296571"/>
          </a:xfrm>
          <a:prstGeom prst="rect">
            <a:avLst/>
          </a:prstGeom>
        </p:spPr>
      </p:pic>
      <p:sp>
        <p:nvSpPr>
          <p:cNvPr id="2" name="Title 1">
            <a:extLst>
              <a:ext uri="{FF2B5EF4-FFF2-40B4-BE49-F238E27FC236}">
                <a16:creationId xmlns:a16="http://schemas.microsoft.com/office/drawing/2014/main" id="{308E3C78-2418-4660-83C0-7F9297C51492}"/>
              </a:ext>
            </a:extLst>
          </p:cNvPr>
          <p:cNvSpPr>
            <a:spLocks noGrp="1"/>
          </p:cNvSpPr>
          <p:nvPr>
            <p:ph type="title"/>
          </p:nvPr>
        </p:nvSpPr>
        <p:spPr/>
        <p:txBody>
          <a:bodyPr/>
          <a:lstStyle/>
          <a:p>
            <a:r>
              <a:rPr lang="en-US" dirty="0"/>
              <a:t>Informal Reconsideration</a:t>
            </a:r>
          </a:p>
        </p:txBody>
      </p:sp>
      <p:sp>
        <p:nvSpPr>
          <p:cNvPr id="4" name="Slide Number Placeholder 3">
            <a:extLst>
              <a:ext uri="{FF2B5EF4-FFF2-40B4-BE49-F238E27FC236}">
                <a16:creationId xmlns:a16="http://schemas.microsoft.com/office/drawing/2014/main" id="{2C75C706-23E9-43E4-83DD-79B656B8DF0E}"/>
              </a:ext>
            </a:extLst>
          </p:cNvPr>
          <p:cNvSpPr>
            <a:spLocks noGrp="1"/>
          </p:cNvSpPr>
          <p:nvPr>
            <p:ph type="sldNum" sz="quarter" idx="10"/>
          </p:nvPr>
        </p:nvSpPr>
        <p:spPr>
          <a:xfrm>
            <a:off x="86106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2" name="Rectangle 11">
            <a:extLst>
              <a:ext uri="{FF2B5EF4-FFF2-40B4-BE49-F238E27FC236}">
                <a16:creationId xmlns:a16="http://schemas.microsoft.com/office/drawing/2014/main" id="{F219B056-794E-4A77-AFD5-D1D55F50B4DF}"/>
              </a:ext>
            </a:extLst>
          </p:cNvPr>
          <p:cNvSpPr/>
          <p:nvPr/>
        </p:nvSpPr>
        <p:spPr>
          <a:xfrm>
            <a:off x="0" y="3696186"/>
            <a:ext cx="12192000" cy="2253877"/>
          </a:xfrm>
          <a:prstGeom prst="rect">
            <a:avLst/>
          </a:prstGeom>
          <a:solidFill>
            <a:srgbClr val="F7F7F7"/>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 name="TextBox 7">
            <a:extLst>
              <a:ext uri="{FF2B5EF4-FFF2-40B4-BE49-F238E27FC236}">
                <a16:creationId xmlns:a16="http://schemas.microsoft.com/office/drawing/2014/main" id="{1A6555DA-77B6-4C26-BFAB-A186C9E10BA9}"/>
              </a:ext>
            </a:extLst>
          </p:cNvPr>
          <p:cNvSpPr txBox="1"/>
          <p:nvPr/>
        </p:nvSpPr>
        <p:spPr>
          <a:xfrm>
            <a:off x="1543256"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4470448-6831-4696-ACBE-EB276C9CD42C}"/>
              </a:ext>
            </a:extLst>
          </p:cNvPr>
          <p:cNvSpPr txBox="1"/>
          <p:nvPr/>
        </p:nvSpPr>
        <p:spPr>
          <a:xfrm>
            <a:off x="5481742"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9AC83C3E-3741-4F03-9C1C-767E6A4CBCC6}"/>
              </a:ext>
            </a:extLst>
          </p:cNvPr>
          <p:cNvSpPr txBox="1"/>
          <p:nvPr/>
        </p:nvSpPr>
        <p:spPr>
          <a:xfrm>
            <a:off x="9183640"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EFD17BF3-BBAA-4144-80E5-6F0F9BCA7A5F}"/>
              </a:ext>
            </a:extLst>
          </p:cNvPr>
          <p:cNvSpPr/>
          <p:nvPr/>
        </p:nvSpPr>
        <p:spPr>
          <a:xfrm>
            <a:off x="461765" y="3860009"/>
            <a:ext cx="3056085" cy="2031325"/>
          </a:xfrm>
          <a:prstGeom prst="rect">
            <a:avLst/>
          </a:prstGeom>
        </p:spPr>
        <p:txBody>
          <a:bodyPr wrap="square">
            <a:spAutoFit/>
          </a:bodyPr>
          <a:lstStyle/>
          <a:p>
            <a:pPr lvl="0" algn="ctr">
              <a:defRPr/>
            </a:pPr>
            <a:r>
              <a:rPr lang="en-US" sz="1400" dirty="0">
                <a:solidFill>
                  <a:srgbClr val="68767E"/>
                </a:solidFill>
              </a:rPr>
              <a:t>Under Health First Colorado’s Medicaid Program, Providers have the right to file an Informal Reconsideration that </a:t>
            </a:r>
            <a:r>
              <a:rPr lang="en-US" sz="1400" b="1" u="sng" dirty="0">
                <a:solidFill>
                  <a:srgbClr val="68767E"/>
                </a:solidFill>
              </a:rPr>
              <a:t>must be received by HMS within 30 days of letter date on Notice of Adverse Action, Overpayment Determination letter</a:t>
            </a:r>
          </a:p>
          <a:p>
            <a:pPr lvl="0" algn="ctr">
              <a:defRPr/>
            </a:pPr>
            <a:endParaRPr lang="en-US" sz="1400" dirty="0">
              <a:solidFill>
                <a:srgbClr val="68767E"/>
              </a:solidFill>
            </a:endParaRPr>
          </a:p>
        </p:txBody>
      </p:sp>
      <p:sp>
        <p:nvSpPr>
          <p:cNvPr id="15" name="Rectangle 14">
            <a:extLst>
              <a:ext uri="{FF2B5EF4-FFF2-40B4-BE49-F238E27FC236}">
                <a16:creationId xmlns:a16="http://schemas.microsoft.com/office/drawing/2014/main" id="{D6A3B72C-BB34-47D3-ABF8-14AF90E075D8}"/>
              </a:ext>
            </a:extLst>
          </p:cNvPr>
          <p:cNvSpPr/>
          <p:nvPr/>
        </p:nvSpPr>
        <p:spPr>
          <a:xfrm>
            <a:off x="4155127" y="3868184"/>
            <a:ext cx="3479467" cy="954107"/>
          </a:xfrm>
          <a:prstGeom prst="rect">
            <a:avLst/>
          </a:prstGeom>
        </p:spPr>
        <p:txBody>
          <a:bodyPr wrap="square">
            <a:spAutoFit/>
          </a:bodyPr>
          <a:lstStyle/>
          <a:p>
            <a:pPr lvl="0" algn="ctr">
              <a:defRPr/>
            </a:pPr>
            <a:r>
              <a:rPr lang="en-US" sz="1400" dirty="0">
                <a:solidFill>
                  <a:srgbClr val="68767E"/>
                </a:solidFill>
              </a:rPr>
              <a:t>Providers should be specific about what  they disagree with regarding HMS’ findings and include any documentation that may support their position.</a:t>
            </a:r>
          </a:p>
        </p:txBody>
      </p:sp>
      <p:sp>
        <p:nvSpPr>
          <p:cNvPr id="16" name="Rectangle 15">
            <a:extLst>
              <a:ext uri="{FF2B5EF4-FFF2-40B4-BE49-F238E27FC236}">
                <a16:creationId xmlns:a16="http://schemas.microsoft.com/office/drawing/2014/main" id="{A5BDA789-F35C-4C55-B10F-7FB44E0D8CAB}"/>
              </a:ext>
            </a:extLst>
          </p:cNvPr>
          <p:cNvSpPr/>
          <p:nvPr/>
        </p:nvSpPr>
        <p:spPr>
          <a:xfrm>
            <a:off x="8432577" y="3868184"/>
            <a:ext cx="2395230" cy="1384995"/>
          </a:xfrm>
          <a:prstGeom prst="rect">
            <a:avLst/>
          </a:prstGeom>
        </p:spPr>
        <p:txBody>
          <a:bodyPr wrap="square">
            <a:spAutoFit/>
          </a:bodyPr>
          <a:lstStyle/>
          <a:p>
            <a:pPr lvl="0" algn="ctr">
              <a:defRPr/>
            </a:pPr>
            <a:r>
              <a:rPr lang="en-US" sz="1400" dirty="0">
                <a:solidFill>
                  <a:srgbClr val="68767E"/>
                </a:solidFill>
              </a:rPr>
              <a:t>Providers should receive a confirmation call from HMS Provider Services when an Informal Reconsideration request has been received for their claim(s).</a:t>
            </a:r>
          </a:p>
        </p:txBody>
      </p:sp>
      <p:grpSp>
        <p:nvGrpSpPr>
          <p:cNvPr id="18" name="Group 17">
            <a:extLst>
              <a:ext uri="{FF2B5EF4-FFF2-40B4-BE49-F238E27FC236}">
                <a16:creationId xmlns:a16="http://schemas.microsoft.com/office/drawing/2014/main" id="{02D868BA-8170-4D22-96F3-677BDD85DC2E}"/>
              </a:ext>
            </a:extLst>
          </p:cNvPr>
          <p:cNvGrpSpPr/>
          <p:nvPr/>
        </p:nvGrpSpPr>
        <p:grpSpPr>
          <a:xfrm>
            <a:off x="1789663" y="5725748"/>
            <a:ext cx="400291" cy="66866"/>
            <a:chOff x="3240835" y="2447766"/>
            <a:chExt cx="400291" cy="66866"/>
          </a:xfrm>
        </p:grpSpPr>
        <p:sp>
          <p:nvSpPr>
            <p:cNvPr id="19" name="Oval 18">
              <a:extLst>
                <a:ext uri="{FF2B5EF4-FFF2-40B4-BE49-F238E27FC236}">
                  <a16:creationId xmlns:a16="http://schemas.microsoft.com/office/drawing/2014/main" id="{DBCAC187-8338-4D77-93BE-D04904F0F271}"/>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65E1CF81-9F18-4274-BD19-91C2DBDC957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1" name="Oval 20">
              <a:extLst>
                <a:ext uri="{FF2B5EF4-FFF2-40B4-BE49-F238E27FC236}">
                  <a16:creationId xmlns:a16="http://schemas.microsoft.com/office/drawing/2014/main" id="{87FA79CF-C07E-4E5A-BE37-1EF168FDBD4D}"/>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2" name="Group 21">
            <a:extLst>
              <a:ext uri="{FF2B5EF4-FFF2-40B4-BE49-F238E27FC236}">
                <a16:creationId xmlns:a16="http://schemas.microsoft.com/office/drawing/2014/main" id="{EABA9620-71B4-4C65-B6FB-200F872A7D20}"/>
              </a:ext>
            </a:extLst>
          </p:cNvPr>
          <p:cNvGrpSpPr/>
          <p:nvPr/>
        </p:nvGrpSpPr>
        <p:grpSpPr>
          <a:xfrm>
            <a:off x="5728149" y="5725748"/>
            <a:ext cx="400291" cy="66866"/>
            <a:chOff x="3240835" y="2447766"/>
            <a:chExt cx="400291" cy="66866"/>
          </a:xfrm>
        </p:grpSpPr>
        <p:sp>
          <p:nvSpPr>
            <p:cNvPr id="23" name="Oval 22">
              <a:extLst>
                <a:ext uri="{FF2B5EF4-FFF2-40B4-BE49-F238E27FC236}">
                  <a16:creationId xmlns:a16="http://schemas.microsoft.com/office/drawing/2014/main" id="{D4C95F36-DCB2-4563-BA48-35CBEFAFE8EB}"/>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F2245BF2-514D-40A6-AA5E-0AD97E3A6A2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5" name="Oval 24">
              <a:extLst>
                <a:ext uri="{FF2B5EF4-FFF2-40B4-BE49-F238E27FC236}">
                  <a16:creationId xmlns:a16="http://schemas.microsoft.com/office/drawing/2014/main" id="{C6AD111F-3ABE-4CAF-B825-65349FB3D60F}"/>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6" name="Group 25">
            <a:extLst>
              <a:ext uri="{FF2B5EF4-FFF2-40B4-BE49-F238E27FC236}">
                <a16:creationId xmlns:a16="http://schemas.microsoft.com/office/drawing/2014/main" id="{05692386-5B14-4F61-B68A-E9581D81E170}"/>
              </a:ext>
            </a:extLst>
          </p:cNvPr>
          <p:cNvGrpSpPr/>
          <p:nvPr/>
        </p:nvGrpSpPr>
        <p:grpSpPr>
          <a:xfrm>
            <a:off x="9430047" y="5725748"/>
            <a:ext cx="400291" cy="66866"/>
            <a:chOff x="3240835" y="2447766"/>
            <a:chExt cx="400291" cy="66866"/>
          </a:xfrm>
        </p:grpSpPr>
        <p:sp>
          <p:nvSpPr>
            <p:cNvPr id="27" name="Oval 26">
              <a:extLst>
                <a:ext uri="{FF2B5EF4-FFF2-40B4-BE49-F238E27FC236}">
                  <a16:creationId xmlns:a16="http://schemas.microsoft.com/office/drawing/2014/main" id="{FB0FE872-CD32-42AE-BF79-01F63E03E000}"/>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2FD2AD64-C038-4901-8DEF-855ABB1F8210}"/>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Oval 28">
              <a:extLst>
                <a:ext uri="{FF2B5EF4-FFF2-40B4-BE49-F238E27FC236}">
                  <a16:creationId xmlns:a16="http://schemas.microsoft.com/office/drawing/2014/main" id="{EB8AB79F-2073-4CB4-9D84-7FE740FEB418}"/>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sp>
        <p:nvSpPr>
          <p:cNvPr id="34" name="Footer Placeholder 3">
            <a:extLst>
              <a:ext uri="{FF2B5EF4-FFF2-40B4-BE49-F238E27FC236}">
                <a16:creationId xmlns:a16="http://schemas.microsoft.com/office/drawing/2014/main" id="{E716A210-0986-8B44-AE94-743A4BF59CFB}"/>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1007748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a:xfrm>
            <a:off x="839789" y="787451"/>
            <a:ext cx="5942011" cy="844271"/>
          </a:xfrm>
        </p:spPr>
        <p:txBody>
          <a:bodyPr>
            <a:normAutofit/>
          </a:bodyPr>
          <a:lstStyle/>
          <a:p>
            <a:r>
              <a:rPr lang="en-US" dirty="0"/>
              <a:t>Informal Reconsideration</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700" b="0" i="0" u="none" strike="noStrike" kern="1200" cap="none" spc="0" normalizeH="0" baseline="0" noProof="0" dirty="0">
              <a:ln>
                <a:noFill/>
              </a:ln>
              <a:solidFill>
                <a:srgbClr val="FFFFFF"/>
              </a:solidFill>
              <a:effectLst/>
              <a:uLnTx/>
              <a:uFillTx/>
              <a:latin typeface="Arial" charset="0"/>
              <a:cs typeface="Arial" charset="0"/>
            </a:endParaRPr>
          </a:p>
        </p:txBody>
      </p:sp>
      <p:sp>
        <p:nvSpPr>
          <p:cNvPr id="47" name="Rectangle 46">
            <a:extLst>
              <a:ext uri="{FF2B5EF4-FFF2-40B4-BE49-F238E27FC236}">
                <a16:creationId xmlns:a16="http://schemas.microsoft.com/office/drawing/2014/main" id="{1F61AAA1-F205-4E3E-99D7-F7E7A0CE564E}"/>
              </a:ext>
            </a:extLst>
          </p:cNvPr>
          <p:cNvSpPr/>
          <p:nvPr/>
        </p:nvSpPr>
        <p:spPr>
          <a:xfrm>
            <a:off x="902939" y="3346292"/>
            <a:ext cx="5025415"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lang="en-US" sz="2000" b="1" dirty="0">
                <a:solidFill>
                  <a:srgbClr val="265D77"/>
                </a:solidFill>
              </a:rPr>
              <a:t>Informal </a:t>
            </a:r>
            <a:r>
              <a:rPr kumimoji="0" lang="en-US" sz="2000" b="1" i="0" u="none" strike="noStrike" kern="1200" cap="none" spc="0" normalizeH="0" baseline="0" noProof="0" dirty="0">
                <a:ln>
                  <a:noFill/>
                </a:ln>
                <a:solidFill>
                  <a:srgbClr val="265D77"/>
                </a:solidFill>
                <a:effectLst/>
                <a:uLnTx/>
                <a:uFillTx/>
                <a:latin typeface="Arial" charset="0"/>
                <a:ea typeface="+mn-ea"/>
                <a:cs typeface="+mn-cs"/>
              </a:rPr>
              <a:t>Reconsideration Overturn Letter</a:t>
            </a:r>
          </a:p>
        </p:txBody>
      </p: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
        <p:nvSpPr>
          <p:cNvPr id="24" name="Rectangle 23">
            <a:extLst>
              <a:ext uri="{FF2B5EF4-FFF2-40B4-BE49-F238E27FC236}">
                <a16:creationId xmlns:a16="http://schemas.microsoft.com/office/drawing/2014/main" id="{1F61AAA1-F205-4E3E-99D7-F7E7A0CE564E}"/>
              </a:ext>
            </a:extLst>
          </p:cNvPr>
          <p:cNvSpPr/>
          <p:nvPr/>
        </p:nvSpPr>
        <p:spPr>
          <a:xfrm>
            <a:off x="922032" y="4942056"/>
            <a:ext cx="4828245"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kumimoji="0" lang="en-US" sz="2000" b="1" i="0" u="none" strike="noStrike" kern="1200" cap="none" spc="0" normalizeH="0" baseline="0" noProof="0" dirty="0">
                <a:ln>
                  <a:noFill/>
                </a:ln>
                <a:solidFill>
                  <a:srgbClr val="265D77"/>
                </a:solidFill>
                <a:effectLst/>
                <a:uLnTx/>
                <a:uFillTx/>
                <a:latin typeface="Arial" charset="0"/>
                <a:ea typeface="+mn-ea"/>
                <a:cs typeface="+mn-cs"/>
              </a:rPr>
              <a:t>Informal Reconsideration Uphold Letter</a:t>
            </a:r>
          </a:p>
        </p:txBody>
      </p:sp>
      <p:sp>
        <p:nvSpPr>
          <p:cNvPr id="26" name="Rectangle 25">
            <a:extLst>
              <a:ext uri="{FF2B5EF4-FFF2-40B4-BE49-F238E27FC236}">
                <a16:creationId xmlns:a16="http://schemas.microsoft.com/office/drawing/2014/main" id="{68ABB054-761C-49C7-8F38-37F585F7F63D}"/>
              </a:ext>
            </a:extLst>
          </p:cNvPr>
          <p:cNvSpPr/>
          <p:nvPr/>
        </p:nvSpPr>
        <p:spPr>
          <a:xfrm>
            <a:off x="1207717" y="3712652"/>
            <a:ext cx="4415861" cy="1594283"/>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view of additional documentation identifies no findings of improper billing. </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Claims are substantiated and HMS concurs with the documentation.</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N</a:t>
            </a:r>
            <a:r>
              <a:rPr kumimoji="0" lang="en-US" sz="1600" b="0" i="0" u="none" strike="noStrike" kern="1200" cap="none" spc="0" normalizeH="0" baseline="0" noProof="0" dirty="0">
                <a:ln>
                  <a:noFill/>
                </a:ln>
                <a:solidFill>
                  <a:srgbClr val="68767E"/>
                </a:solidFill>
                <a:effectLst/>
                <a:uLnTx/>
                <a:uFillTx/>
                <a:latin typeface="Arial" charset="0"/>
                <a:ea typeface="+mn-ea"/>
                <a:cs typeface="+mn-cs"/>
              </a:rPr>
              <a:t>o further action needed.</a:t>
            </a:r>
          </a:p>
          <a:p>
            <a:pPr marL="0" marR="0" lvl="1" algn="l" defTabSz="914400" rtl="0" eaLnBrk="0" fontAlgn="base" latinLnBrk="0" hangingPunct="0">
              <a:lnSpc>
                <a:spcPct val="80000"/>
              </a:lnSpc>
              <a:spcBef>
                <a:spcPct val="0"/>
              </a:spcBef>
              <a:spcAft>
                <a:spcPct val="0"/>
              </a:spcAft>
              <a:buClr>
                <a:srgbClr val="FF6633"/>
              </a:buClr>
              <a:buSzTx/>
              <a:tabLst/>
              <a:defRPr/>
            </a:pPr>
            <a:endParaRPr lang="en-US" sz="1400" dirty="0">
              <a:solidFill>
                <a:srgbClr val="68767E"/>
              </a:solidFill>
            </a:endParaRP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0" marR="0" lvl="1" algn="l" defTabSz="914400" rtl="0" eaLnBrk="0" fontAlgn="base" latinLnBrk="0" hangingPunct="0">
              <a:lnSpc>
                <a:spcPct val="80000"/>
              </a:lnSpc>
              <a:spcBef>
                <a:spcPct val="0"/>
              </a:spcBef>
              <a:spcAft>
                <a:spcPct val="0"/>
              </a:spcAft>
              <a:buClr>
                <a:srgbClr val="FF6633"/>
              </a:buClr>
              <a:buSzTx/>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28" name="Rectangle 27">
            <a:extLst>
              <a:ext uri="{FF2B5EF4-FFF2-40B4-BE49-F238E27FC236}">
                <a16:creationId xmlns:a16="http://schemas.microsoft.com/office/drawing/2014/main" id="{68ABB054-761C-49C7-8F38-37F585F7F63D}"/>
              </a:ext>
            </a:extLst>
          </p:cNvPr>
          <p:cNvSpPr/>
          <p:nvPr/>
        </p:nvSpPr>
        <p:spPr>
          <a:xfrm>
            <a:off x="1207717" y="5306935"/>
            <a:ext cx="5676901" cy="1052596"/>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view of additional documentation concludes that initial determination was accurate.</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Documentation did not substantiate the medical billed services. </a:t>
            </a: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1" indent="0" algn="l" defTabSz="914400" rtl="0" eaLnBrk="0" fontAlgn="base" latinLnBrk="0" hangingPunct="0">
              <a:lnSpc>
                <a:spcPct val="80000"/>
              </a:lnSpc>
              <a:spcBef>
                <a:spcPct val="0"/>
              </a:spcBef>
              <a:spcAft>
                <a:spcPct val="0"/>
              </a:spcAft>
              <a:buClr>
                <a:srgbClr val="FF6633"/>
              </a:buClr>
              <a:buSzTx/>
              <a:buFontTx/>
              <a:buNone/>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2" name="TextBox 11">
            <a:extLst>
              <a:ext uri="{FF2B5EF4-FFF2-40B4-BE49-F238E27FC236}">
                <a16:creationId xmlns:a16="http://schemas.microsoft.com/office/drawing/2014/main" id="{EAD2C9E8-27EC-4D84-9C1B-F1DD1BCD5297}"/>
              </a:ext>
            </a:extLst>
          </p:cNvPr>
          <p:cNvSpPr txBox="1"/>
          <p:nvPr/>
        </p:nvSpPr>
        <p:spPr>
          <a:xfrm>
            <a:off x="865820" y="1633395"/>
            <a:ext cx="5062534" cy="1477328"/>
          </a:xfrm>
          <a:prstGeom prst="rect">
            <a:avLst/>
          </a:prstGeom>
          <a:noFill/>
        </p:spPr>
        <p:txBody>
          <a:bodyPr wrap="square">
            <a:spAutoFit/>
          </a:bodyPr>
          <a:lstStyle/>
          <a:p>
            <a:r>
              <a:rPr lang="en-US" sz="1800" dirty="0">
                <a:solidFill>
                  <a:srgbClr val="68767E"/>
                </a:solidFill>
              </a:rPr>
              <a:t>Providers will receive a consolidated letter with the outcome of their Informal </a:t>
            </a:r>
            <a:r>
              <a:rPr lang="en-US" dirty="0">
                <a:solidFill>
                  <a:srgbClr val="68767E"/>
                </a:solidFill>
              </a:rPr>
              <a:t>R</a:t>
            </a:r>
            <a:r>
              <a:rPr lang="en-US" sz="1800" dirty="0">
                <a:solidFill>
                  <a:srgbClr val="68767E"/>
                </a:solidFill>
              </a:rPr>
              <a:t>econsideration requests within 45 days after HMS receives the request. Your letter will include claims that were overturned and/or upheld as referenced below. </a:t>
            </a:r>
            <a:endParaRPr lang="en-US" dirty="0"/>
          </a:p>
        </p:txBody>
      </p:sp>
    </p:spTree>
    <p:extLst>
      <p:ext uri="{BB962C8B-B14F-4D97-AF65-F5344CB8AC3E}">
        <p14:creationId xmlns:p14="http://schemas.microsoft.com/office/powerpoint/2010/main" val="38089321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Hands typing on laptop keyboard">
            <a:extLst>
              <a:ext uri="{FF2B5EF4-FFF2-40B4-BE49-F238E27FC236}">
                <a16:creationId xmlns:a16="http://schemas.microsoft.com/office/drawing/2014/main" id="{403F24D4-4BDB-E73E-AFD7-B6A389715762}"/>
              </a:ext>
            </a:extLst>
          </p:cNvPr>
          <p:cNvPicPr>
            <a:picLocks noChangeAspect="1"/>
          </p:cNvPicPr>
          <p:nvPr/>
        </p:nvPicPr>
        <p:blipFill>
          <a:blip r:embed="rId3"/>
          <a:stretch>
            <a:fillRect/>
          </a:stretch>
        </p:blipFill>
        <p:spPr>
          <a:xfrm>
            <a:off x="5943600" y="0"/>
            <a:ext cx="6248400" cy="6858000"/>
          </a:xfrm>
          <a:prstGeom prst="rect">
            <a:avLst/>
          </a:prstGeom>
        </p:spPr>
      </p:pic>
      <p:sp>
        <p:nvSpPr>
          <p:cNvPr id="4" name="Title 3">
            <a:extLst>
              <a:ext uri="{FF2B5EF4-FFF2-40B4-BE49-F238E27FC236}">
                <a16:creationId xmlns:a16="http://schemas.microsoft.com/office/drawing/2014/main" id="{D301BD0A-07A0-AF65-5577-4E6BD0A04BB2}"/>
              </a:ext>
            </a:extLst>
          </p:cNvPr>
          <p:cNvSpPr>
            <a:spLocks noGrp="1"/>
          </p:cNvSpPr>
          <p:nvPr>
            <p:ph type="title"/>
          </p:nvPr>
        </p:nvSpPr>
        <p:spPr>
          <a:xfrm>
            <a:off x="567309" y="61911"/>
            <a:ext cx="10162034" cy="1325563"/>
          </a:xfrm>
        </p:spPr>
        <p:txBody>
          <a:bodyPr/>
          <a:lstStyle/>
          <a:p>
            <a:r>
              <a:rPr lang="en-US" dirty="0"/>
              <a:t>Appeals 	</a:t>
            </a:r>
          </a:p>
        </p:txBody>
      </p:sp>
      <p:sp>
        <p:nvSpPr>
          <p:cNvPr id="5" name="Content Placeholder 4">
            <a:extLst>
              <a:ext uri="{FF2B5EF4-FFF2-40B4-BE49-F238E27FC236}">
                <a16:creationId xmlns:a16="http://schemas.microsoft.com/office/drawing/2014/main" id="{87B4D7D2-EE8B-6EFC-DEF1-118ED92A22A4}"/>
              </a:ext>
            </a:extLst>
          </p:cNvPr>
          <p:cNvSpPr>
            <a:spLocks noGrp="1"/>
          </p:cNvSpPr>
          <p:nvPr>
            <p:ph idx="1"/>
          </p:nvPr>
        </p:nvSpPr>
        <p:spPr>
          <a:xfrm>
            <a:off x="838201" y="1050590"/>
            <a:ext cx="4852736" cy="5305760"/>
          </a:xfrm>
        </p:spPr>
        <p:txBody>
          <a:bodyPr>
            <a:normAutofit lnSpcReduction="10000"/>
          </a:bodyPr>
          <a:lstStyle/>
          <a:p>
            <a:r>
              <a:rPr lang="en-US" sz="1800" dirty="0"/>
              <a:t>Information regarding filing an appeal will be in the Notice of Adverse Action letter.</a:t>
            </a:r>
          </a:p>
          <a:p>
            <a:r>
              <a:rPr lang="en-US" sz="1800" dirty="0"/>
              <a:t>Must be received by Office of Administrative Courts within 30 days of the Notice of Adverse Action, Overpayment Determination letter or Informal Reconsideration determination letter being sent.</a:t>
            </a:r>
          </a:p>
          <a:p>
            <a:r>
              <a:rPr lang="en-US" sz="1800" dirty="0"/>
              <a:t>Informal Reconsiderations are not needed before appeal is submitted; however, it is highly encouraged by the Department that providers utilize their rights and get a chance to refute any findings they disagree with and have that documented. </a:t>
            </a:r>
          </a:p>
          <a:p>
            <a:r>
              <a:rPr lang="en-US" sz="1800" dirty="0"/>
              <a:t>Once an appeal is received all communication regarding that case will be routed through the State Attorney Generals office.  HMS Provider Services and the Department will be unable to discuss a case in active litigation.</a:t>
            </a:r>
          </a:p>
        </p:txBody>
      </p:sp>
      <p:sp>
        <p:nvSpPr>
          <p:cNvPr id="2" name="Slide Number Placeholder 1">
            <a:extLst>
              <a:ext uri="{FF2B5EF4-FFF2-40B4-BE49-F238E27FC236}">
                <a16:creationId xmlns:a16="http://schemas.microsoft.com/office/drawing/2014/main" id="{7E1EFD84-4D7F-27D7-FCF6-C866564D3D0C}"/>
              </a:ext>
            </a:extLst>
          </p:cNvPr>
          <p:cNvSpPr>
            <a:spLocks noGrp="1"/>
          </p:cNvSpPr>
          <p:nvPr>
            <p:ph type="sldNum" sz="quarter" idx="10"/>
          </p:nvPr>
        </p:nvSpPr>
        <p:spPr/>
        <p:txBody>
          <a:bodyPr/>
          <a:lstStyle/>
          <a:p>
            <a:fld id="{43443AB8-7904-9444-87E5-10C0FEFCC7D1}" type="slidenum">
              <a:rPr lang="en-US" altLang="en-US" smtClean="0"/>
              <a:pPr/>
              <a:t>18</a:t>
            </a:fld>
            <a:endParaRPr lang="en-US" altLang="en-US" dirty="0"/>
          </a:p>
        </p:txBody>
      </p:sp>
      <p:sp>
        <p:nvSpPr>
          <p:cNvPr id="3" name="Footer Placeholder 2">
            <a:extLst>
              <a:ext uri="{FF2B5EF4-FFF2-40B4-BE49-F238E27FC236}">
                <a16:creationId xmlns:a16="http://schemas.microsoft.com/office/drawing/2014/main" id="{3036B067-3EFF-F85A-8282-EFF066125C39}"/>
              </a:ext>
            </a:extLst>
          </p:cNvPr>
          <p:cNvSpPr>
            <a:spLocks noGrp="1"/>
          </p:cNvSpPr>
          <p:nvPr>
            <p:ph type="ftr" sz="quarter" idx="4294967295"/>
          </p:nvPr>
        </p:nvSpPr>
        <p:spPr>
          <a:xfrm>
            <a:off x="567309" y="6349999"/>
            <a:ext cx="4114800" cy="365125"/>
          </a:xfrm>
        </p:spPr>
        <p:txBody>
          <a:bodyPr/>
          <a:lstStyle/>
          <a:p>
            <a:pPr>
              <a:defRPr/>
            </a:pPr>
            <a:r>
              <a:rPr lang="en-US" dirty="0"/>
              <a:t>HMS a Gainwell Company Confidential. Do not Distribute. HMS INTERNAL ONLY</a:t>
            </a:r>
          </a:p>
        </p:txBody>
      </p:sp>
    </p:spTree>
    <p:extLst>
      <p:ext uri="{BB962C8B-B14F-4D97-AF65-F5344CB8AC3E}">
        <p14:creationId xmlns:p14="http://schemas.microsoft.com/office/powerpoint/2010/main" val="20849207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Exit Conference</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3" name="Footer Placeholder 5">
            <a:extLst>
              <a:ext uri="{FF2B5EF4-FFF2-40B4-BE49-F238E27FC236}">
                <a16:creationId xmlns:a16="http://schemas.microsoft.com/office/drawing/2014/main" id="{6BC852C8-7FE4-FE18-25CD-ACD1354111F5}"/>
              </a:ext>
            </a:extLst>
          </p:cNvPr>
          <p:cNvSpPr txBox="1">
            <a:spLocks/>
          </p:cNvSpPr>
          <p:nvPr/>
        </p:nvSpPr>
        <p:spPr>
          <a:xfrm>
            <a:off x="838200" y="64166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1998071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027256-5054-4F7C-93E5-3ADF9D05ACB7}"/>
              </a:ext>
            </a:extLst>
          </p:cNvPr>
          <p:cNvSpPr>
            <a:spLocks noGrp="1"/>
          </p:cNvSpPr>
          <p:nvPr>
            <p:ph type="sldNum" sz="quarter" idx="10"/>
          </p:nvPr>
        </p:nvSpPr>
        <p:spPr/>
        <p:txBody>
          <a:bodyPr/>
          <a:lstStyle/>
          <a:p>
            <a:fld id="{E1D6E511-78F2-1D4C-8218-60E971E66380}" type="slidenum">
              <a:rPr lang="en-US" altLang="en-US" smtClean="0"/>
              <a:pPr/>
              <a:t>2</a:t>
            </a:fld>
            <a:endParaRPr lang="en-US" altLang="en-US" dirty="0"/>
          </a:p>
        </p:txBody>
      </p:sp>
      <p:pic>
        <p:nvPicPr>
          <p:cNvPr id="5" name="Picture 4">
            <a:extLst>
              <a:ext uri="{FF2B5EF4-FFF2-40B4-BE49-F238E27FC236}">
                <a16:creationId xmlns:a16="http://schemas.microsoft.com/office/drawing/2014/main" id="{B1F4FE8B-685E-4ACF-A8CE-B60121B977C2}"/>
              </a:ext>
            </a:extLst>
          </p:cNvPr>
          <p:cNvPicPr>
            <a:picLocks noChangeAspect="1"/>
          </p:cNvPicPr>
          <p:nvPr/>
        </p:nvPicPr>
        <p:blipFill rotWithShape="1">
          <a:blip r:embed="rId3"/>
          <a:srcRect l="64648" t="18360" r="15198" b="14577"/>
          <a:stretch/>
        </p:blipFill>
        <p:spPr>
          <a:xfrm>
            <a:off x="-31138" y="-1"/>
            <a:ext cx="4973819" cy="6858001"/>
          </a:xfrm>
          <a:prstGeom prst="rect">
            <a:avLst/>
          </a:prstGeom>
        </p:spPr>
      </p:pic>
      <p:sp>
        <p:nvSpPr>
          <p:cNvPr id="6" name="Title 3">
            <a:extLst>
              <a:ext uri="{FF2B5EF4-FFF2-40B4-BE49-F238E27FC236}">
                <a16:creationId xmlns:a16="http://schemas.microsoft.com/office/drawing/2014/main" id="{509CA8A9-2D42-4643-A8A7-7ABAEF7946C1}"/>
              </a:ext>
            </a:extLst>
          </p:cNvPr>
          <p:cNvSpPr>
            <a:spLocks noGrp="1"/>
          </p:cNvSpPr>
          <p:nvPr>
            <p:ph type="title"/>
          </p:nvPr>
        </p:nvSpPr>
        <p:spPr>
          <a:xfrm>
            <a:off x="838200" y="3741408"/>
            <a:ext cx="3259592" cy="664797"/>
          </a:xfrm>
        </p:spPr>
        <p:txBody>
          <a:bodyPr wrap="square" lIns="0" tIns="0" rIns="0" bIns="0" numCol="1" anchorCtr="0" compatLnSpc="1">
            <a:prstTxWarp prst="textNoShape">
              <a:avLst/>
            </a:prstTxWarp>
            <a:spAutoFit/>
          </a:bodyPr>
          <a:lstStyle/>
          <a:p>
            <a:r>
              <a:rPr lang="en-US" sz="4800" dirty="0">
                <a:solidFill>
                  <a:schemeClr val="bg1"/>
                </a:solidFill>
              </a:rPr>
              <a:t>Purpose</a:t>
            </a:r>
          </a:p>
        </p:txBody>
      </p:sp>
      <p:sp>
        <p:nvSpPr>
          <p:cNvPr id="7" name="TextBox 6">
            <a:extLst>
              <a:ext uri="{FF2B5EF4-FFF2-40B4-BE49-F238E27FC236}">
                <a16:creationId xmlns:a16="http://schemas.microsoft.com/office/drawing/2014/main" id="{1D46439B-76E5-46A4-BE15-041969193626}"/>
              </a:ext>
            </a:extLst>
          </p:cNvPr>
          <p:cNvSpPr txBox="1"/>
          <p:nvPr/>
        </p:nvSpPr>
        <p:spPr>
          <a:xfrm>
            <a:off x="6173176" y="1140244"/>
            <a:ext cx="3763961" cy="877163"/>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Understanding the Review </a:t>
            </a:r>
          </a:p>
          <a:p>
            <a:pPr>
              <a:spcAft>
                <a:spcPts val="600"/>
              </a:spcAft>
            </a:pPr>
            <a:r>
              <a:rPr lang="en-US" sz="1600" dirty="0">
                <a:ea typeface="Arial" charset="0"/>
                <a:cs typeface="Arial" charset="0"/>
              </a:rPr>
              <a:t>Provide an overview of the Recovery Audit Contract for Colorado.</a:t>
            </a:r>
          </a:p>
        </p:txBody>
      </p:sp>
      <p:cxnSp>
        <p:nvCxnSpPr>
          <p:cNvPr id="9" name="Straight Connector 17">
            <a:extLst>
              <a:ext uri="{FF2B5EF4-FFF2-40B4-BE49-F238E27FC236}">
                <a16:creationId xmlns:a16="http://schemas.microsoft.com/office/drawing/2014/main" id="{D023C94B-048C-4750-BEC7-4BB11A58712A}"/>
              </a:ext>
            </a:extLst>
          </p:cNvPr>
          <p:cNvCxnSpPr>
            <a:cxnSpLocks/>
          </p:cNvCxnSpPr>
          <p:nvPr/>
        </p:nvCxnSpPr>
        <p:spPr bwMode="auto">
          <a:xfrm>
            <a:off x="6091238" y="2493938"/>
            <a:ext cx="5391376" cy="0"/>
          </a:xfrm>
          <a:prstGeom prst="line">
            <a:avLst/>
          </a:prstGeom>
          <a:noFill/>
          <a:ln w="12700">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cxnSp>
      <p:cxnSp>
        <p:nvCxnSpPr>
          <p:cNvPr id="10" name="Straight Connector 18">
            <a:extLst>
              <a:ext uri="{FF2B5EF4-FFF2-40B4-BE49-F238E27FC236}">
                <a16:creationId xmlns:a16="http://schemas.microsoft.com/office/drawing/2014/main" id="{6114875B-5381-48C8-B309-E906BEE5724A}"/>
              </a:ext>
            </a:extLst>
          </p:cNvPr>
          <p:cNvCxnSpPr>
            <a:cxnSpLocks/>
          </p:cNvCxnSpPr>
          <p:nvPr/>
        </p:nvCxnSpPr>
        <p:spPr bwMode="auto">
          <a:xfrm>
            <a:off x="6091238" y="4468736"/>
            <a:ext cx="5391376" cy="0"/>
          </a:xfrm>
          <a:prstGeom prst="line">
            <a:avLst/>
          </a:prstGeom>
          <a:noFill/>
          <a:ln w="12700">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cxnSp>
      <p:sp>
        <p:nvSpPr>
          <p:cNvPr id="11" name="TextBox 10">
            <a:extLst>
              <a:ext uri="{FF2B5EF4-FFF2-40B4-BE49-F238E27FC236}">
                <a16:creationId xmlns:a16="http://schemas.microsoft.com/office/drawing/2014/main" id="{B0679A73-6ACA-4FB3-9D03-6132568BAE1C}"/>
              </a:ext>
            </a:extLst>
          </p:cNvPr>
          <p:cNvSpPr txBox="1"/>
          <p:nvPr/>
        </p:nvSpPr>
        <p:spPr>
          <a:xfrm>
            <a:off x="6197087" y="2888867"/>
            <a:ext cx="3763961" cy="1184940"/>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Understanding the Review Process</a:t>
            </a:r>
          </a:p>
          <a:p>
            <a:r>
              <a:rPr lang="en-US" sz="1600" dirty="0">
                <a:ea typeface="Arial" charset="0"/>
                <a:cs typeface="Arial" charset="0"/>
              </a:rPr>
              <a:t>Provide an overview of our medical record request and review process.</a:t>
            </a:r>
          </a:p>
        </p:txBody>
      </p:sp>
      <p:sp>
        <p:nvSpPr>
          <p:cNvPr id="12" name="TextBox 11">
            <a:extLst>
              <a:ext uri="{FF2B5EF4-FFF2-40B4-BE49-F238E27FC236}">
                <a16:creationId xmlns:a16="http://schemas.microsoft.com/office/drawing/2014/main" id="{9D55AA34-37D2-4CFD-BFBF-768EF12F1AAA}"/>
              </a:ext>
            </a:extLst>
          </p:cNvPr>
          <p:cNvSpPr txBox="1"/>
          <p:nvPr/>
        </p:nvSpPr>
        <p:spPr>
          <a:xfrm>
            <a:off x="6197087" y="4698962"/>
            <a:ext cx="3763961" cy="1431161"/>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Collaboration and Communication</a:t>
            </a:r>
          </a:p>
          <a:p>
            <a:r>
              <a:rPr lang="en-US" sz="1600" dirty="0">
                <a:ea typeface="Arial" charset="0"/>
                <a:cs typeface="Arial" charset="0"/>
              </a:rPr>
              <a:t>Ensure your questions and concerns are addressed, and you have HMS’ contact information for questions and support.</a:t>
            </a:r>
          </a:p>
        </p:txBody>
      </p:sp>
      <p:sp>
        <p:nvSpPr>
          <p:cNvPr id="25" name="Footer Placeholder 3">
            <a:extLst>
              <a:ext uri="{FF2B5EF4-FFF2-40B4-BE49-F238E27FC236}">
                <a16:creationId xmlns:a16="http://schemas.microsoft.com/office/drawing/2014/main" id="{F6E1D79D-1591-48D0-8A74-F6F4F594FD58}"/>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chemeClr val="bg1"/>
                </a:solidFill>
                <a:effectLst/>
                <a:uLnTx/>
                <a:uFillTx/>
                <a:latin typeface="Arial" panose="020B0604020202020204"/>
                <a:ea typeface="+mn-ea"/>
                <a:cs typeface="+mn-cs"/>
              </a:rPr>
              <a:t>HMS a Gainwell Company Confidential</a:t>
            </a:r>
            <a:r>
              <a:rPr lang="en-US" sz="800" dirty="0">
                <a:solidFill>
                  <a:schemeClr val="bg1"/>
                </a:solidFill>
              </a:rPr>
              <a:t>. Do not distribute.</a:t>
            </a:r>
          </a:p>
        </p:txBody>
      </p:sp>
      <p:pic>
        <p:nvPicPr>
          <p:cNvPr id="2" name="Picture 1">
            <a:extLst>
              <a:ext uri="{FF2B5EF4-FFF2-40B4-BE49-F238E27FC236}">
                <a16:creationId xmlns:a16="http://schemas.microsoft.com/office/drawing/2014/main" id="{959638DB-CAE7-4E6F-9147-8E0119482256}"/>
              </a:ext>
            </a:extLst>
          </p:cNvPr>
          <p:cNvPicPr>
            <a:picLocks noChangeAspect="1"/>
          </p:cNvPicPr>
          <p:nvPr/>
        </p:nvPicPr>
        <p:blipFill>
          <a:blip r:embed="rId4"/>
          <a:stretch>
            <a:fillRect/>
          </a:stretch>
        </p:blipFill>
        <p:spPr>
          <a:xfrm>
            <a:off x="838200" y="1752221"/>
            <a:ext cx="1688198" cy="1688198"/>
          </a:xfrm>
          <a:prstGeom prst="rect">
            <a:avLst/>
          </a:prstGeom>
        </p:spPr>
      </p:pic>
      <p:grpSp>
        <p:nvGrpSpPr>
          <p:cNvPr id="3" name="Group 2">
            <a:extLst>
              <a:ext uri="{FF2B5EF4-FFF2-40B4-BE49-F238E27FC236}">
                <a16:creationId xmlns:a16="http://schemas.microsoft.com/office/drawing/2014/main" id="{9565D04B-0E39-BF4E-8113-167FD3FEBBC8}"/>
              </a:ext>
            </a:extLst>
          </p:cNvPr>
          <p:cNvGrpSpPr/>
          <p:nvPr/>
        </p:nvGrpSpPr>
        <p:grpSpPr>
          <a:xfrm>
            <a:off x="4366575" y="986356"/>
            <a:ext cx="1172849" cy="1172849"/>
            <a:chOff x="5730238" y="-1614598"/>
            <a:chExt cx="1172849" cy="1172849"/>
          </a:xfrm>
        </p:grpSpPr>
        <p:sp>
          <p:nvSpPr>
            <p:cNvPr id="19" name="Oval 18">
              <a:extLst>
                <a:ext uri="{FF2B5EF4-FFF2-40B4-BE49-F238E27FC236}">
                  <a16:creationId xmlns:a16="http://schemas.microsoft.com/office/drawing/2014/main" id="{92596D4C-59D3-1D4D-9FEF-E3E66B15BEB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TextBox 19">
              <a:extLst>
                <a:ext uri="{FF2B5EF4-FFF2-40B4-BE49-F238E27FC236}">
                  <a16:creationId xmlns:a16="http://schemas.microsoft.com/office/drawing/2014/main" id="{54F733EE-D25E-E14D-8637-EA95A152A3E8}"/>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1</a:t>
              </a:r>
              <a:endParaRPr lang="en-US" sz="4400" dirty="0">
                <a:solidFill>
                  <a:schemeClr val="bg1"/>
                </a:solidFill>
              </a:endParaRPr>
            </a:p>
          </p:txBody>
        </p:sp>
      </p:grpSp>
      <p:grpSp>
        <p:nvGrpSpPr>
          <p:cNvPr id="23" name="Group 22">
            <a:extLst>
              <a:ext uri="{FF2B5EF4-FFF2-40B4-BE49-F238E27FC236}">
                <a16:creationId xmlns:a16="http://schemas.microsoft.com/office/drawing/2014/main" id="{F42C9D00-B14D-4448-9283-972B02E21C9D}"/>
              </a:ext>
            </a:extLst>
          </p:cNvPr>
          <p:cNvGrpSpPr/>
          <p:nvPr/>
        </p:nvGrpSpPr>
        <p:grpSpPr>
          <a:xfrm>
            <a:off x="4366574" y="2828672"/>
            <a:ext cx="1172849" cy="1172849"/>
            <a:chOff x="5730238" y="-1614598"/>
            <a:chExt cx="1172849" cy="1172849"/>
          </a:xfrm>
        </p:grpSpPr>
        <p:sp>
          <p:nvSpPr>
            <p:cNvPr id="24" name="Oval 23">
              <a:extLst>
                <a:ext uri="{FF2B5EF4-FFF2-40B4-BE49-F238E27FC236}">
                  <a16:creationId xmlns:a16="http://schemas.microsoft.com/office/drawing/2014/main" id="{FFE86911-D1E3-5845-9B65-6423217A2A5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E8B728AE-2E1C-8F40-8478-1A5A9AEF2D01}"/>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2</a:t>
              </a:r>
              <a:endParaRPr lang="en-US" sz="4400" dirty="0">
                <a:solidFill>
                  <a:schemeClr val="bg1"/>
                </a:solidFill>
              </a:endParaRPr>
            </a:p>
          </p:txBody>
        </p:sp>
      </p:grpSp>
      <p:grpSp>
        <p:nvGrpSpPr>
          <p:cNvPr id="27" name="Group 26">
            <a:extLst>
              <a:ext uri="{FF2B5EF4-FFF2-40B4-BE49-F238E27FC236}">
                <a16:creationId xmlns:a16="http://schemas.microsoft.com/office/drawing/2014/main" id="{1CE0141A-C3BD-C243-8FC2-B122C9C87AE3}"/>
              </a:ext>
            </a:extLst>
          </p:cNvPr>
          <p:cNvGrpSpPr/>
          <p:nvPr/>
        </p:nvGrpSpPr>
        <p:grpSpPr>
          <a:xfrm>
            <a:off x="4366573" y="4715823"/>
            <a:ext cx="1172849" cy="1172849"/>
            <a:chOff x="5730238" y="-1614598"/>
            <a:chExt cx="1172849" cy="1172849"/>
          </a:xfrm>
        </p:grpSpPr>
        <p:sp>
          <p:nvSpPr>
            <p:cNvPr id="28" name="Oval 27">
              <a:extLst>
                <a:ext uri="{FF2B5EF4-FFF2-40B4-BE49-F238E27FC236}">
                  <a16:creationId xmlns:a16="http://schemas.microsoft.com/office/drawing/2014/main" id="{25B5F55B-7E0C-1640-8126-9F52654A236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TextBox 28">
              <a:extLst>
                <a:ext uri="{FF2B5EF4-FFF2-40B4-BE49-F238E27FC236}">
                  <a16:creationId xmlns:a16="http://schemas.microsoft.com/office/drawing/2014/main" id="{93E8AFF6-7BDA-484A-B1F8-535B4865BE78}"/>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3</a:t>
              </a:r>
              <a:endParaRPr lang="en-US" sz="4400" dirty="0">
                <a:solidFill>
                  <a:schemeClr val="bg1"/>
                </a:solidFill>
              </a:endParaRPr>
            </a:p>
          </p:txBody>
        </p:sp>
      </p:grpSp>
    </p:spTree>
    <p:extLst>
      <p:ext uri="{BB962C8B-B14F-4D97-AF65-F5344CB8AC3E}">
        <p14:creationId xmlns:p14="http://schemas.microsoft.com/office/powerpoint/2010/main" val="25915825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p:txBody>
          <a:bodyPr>
            <a:normAutofit/>
          </a:bodyPr>
          <a:lstStyle/>
          <a:p>
            <a:r>
              <a:rPr lang="en-US" dirty="0"/>
              <a:t>Exit Conference</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700" b="0" i="0" u="none" strike="noStrike" kern="1200" cap="none" spc="0" normalizeH="0" baseline="0" noProof="0" dirty="0">
              <a:ln>
                <a:noFill/>
              </a:ln>
              <a:solidFill>
                <a:srgbClr val="FFFFFF"/>
              </a:solidFill>
              <a:effectLst/>
              <a:uLnTx/>
              <a:uFillTx/>
              <a:latin typeface="Arial" charset="0"/>
              <a:cs typeface="Arial" charset="0"/>
            </a:endParaRPr>
          </a:p>
        </p:txBody>
      </p: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
        <p:nvSpPr>
          <p:cNvPr id="26" name="Rectangle 25">
            <a:extLst>
              <a:ext uri="{FF2B5EF4-FFF2-40B4-BE49-F238E27FC236}">
                <a16:creationId xmlns:a16="http://schemas.microsoft.com/office/drawing/2014/main" id="{68ABB054-761C-49C7-8F38-37F585F7F63D}"/>
              </a:ext>
            </a:extLst>
          </p:cNvPr>
          <p:cNvSpPr/>
          <p:nvPr/>
        </p:nvSpPr>
        <p:spPr>
          <a:xfrm>
            <a:off x="839789" y="2348429"/>
            <a:ext cx="5173968" cy="4745915"/>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Must be requested via Provider Services within 10 days of receiving the Medical Record Request letter</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quested exit conferences are held once HMS has completed the review and before the Notice of Adverse </a:t>
            </a:r>
            <a:r>
              <a:rPr lang="en-US" sz="1600" dirty="0">
                <a:solidFill>
                  <a:srgbClr val="68767E"/>
                </a:solidFill>
              </a:rPr>
              <a:t>Action is issued</a:t>
            </a:r>
            <a:r>
              <a:rPr kumimoji="0" lang="en-US" sz="1600" b="0" i="0" u="none" strike="noStrike" kern="1200" cap="none" spc="0" normalizeH="0" baseline="0" noProof="0" dirty="0">
                <a:ln>
                  <a:noFill/>
                </a:ln>
                <a:solidFill>
                  <a:srgbClr val="68767E"/>
                </a:solidFill>
                <a:effectLst/>
                <a:uLnTx/>
                <a:uFillTx/>
                <a:latin typeface="Arial" charset="0"/>
                <a:ea typeface="+mn-ea"/>
                <a:cs typeface="+mn-cs"/>
              </a:rPr>
              <a:t>. </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Providers may request the Department to be present at the conference</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HMS will reach out to the provider to schedule the conference once preliminary results are ready</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Preliminary results are sent to the provider prior to the conference where HMS will: </a:t>
            </a:r>
          </a:p>
          <a:p>
            <a:pPr marL="742950" lvl="2" indent="-285750">
              <a:lnSpc>
                <a:spcPct val="80000"/>
              </a:lnSpc>
              <a:buClr>
                <a:srgbClr val="FF6633"/>
              </a:buClr>
              <a:buFont typeface="Arial" panose="020B0604020202020204" pitchFamily="34" charset="0"/>
              <a:buChar char="•"/>
              <a:defRPr/>
            </a:pPr>
            <a:r>
              <a:rPr lang="en-US" sz="1600" dirty="0">
                <a:solidFill>
                  <a:srgbClr val="68767E"/>
                </a:solidFill>
              </a:rPr>
              <a:t>Discuss the findings and trends </a:t>
            </a:r>
          </a:p>
          <a:p>
            <a:pPr marL="742950" lvl="2" indent="-285750">
              <a:lnSpc>
                <a:spcPct val="80000"/>
              </a:lnSpc>
              <a:buClr>
                <a:srgbClr val="FF6633"/>
              </a:buClr>
              <a:buFont typeface="Arial" panose="020B0604020202020204" pitchFamily="34" charset="0"/>
              <a:buChar char="•"/>
              <a:defRPr/>
            </a:pPr>
            <a:r>
              <a:rPr lang="en-US" sz="1600" dirty="0">
                <a:solidFill>
                  <a:srgbClr val="68767E"/>
                </a:solidFill>
              </a:rPr>
              <a:t>Allow the provider to send any additional documentation or missing records</a:t>
            </a:r>
          </a:p>
          <a:p>
            <a:pPr marL="742950" lvl="2" indent="-285750">
              <a:lnSpc>
                <a:spcPct val="80000"/>
              </a:lnSpc>
              <a:buClr>
                <a:srgbClr val="FF6633"/>
              </a:buClr>
              <a:buFont typeface="Arial" panose="020B0604020202020204" pitchFamily="34" charset="0"/>
              <a:buChar char="•"/>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Advise of next steps</a:t>
            </a:r>
          </a:p>
          <a:p>
            <a:pPr marL="285750" lvl="1" indent="-285750">
              <a:lnSpc>
                <a:spcPct val="80000"/>
              </a:lnSpc>
              <a:buClr>
                <a:srgbClr val="FF6633"/>
              </a:buClr>
              <a:buFont typeface="Arial" panose="020B0604020202020204" pitchFamily="34" charset="0"/>
              <a:buChar char="•"/>
              <a:defRPr/>
            </a:pPr>
            <a:r>
              <a:rPr lang="en-US" sz="1600" dirty="0">
                <a:solidFill>
                  <a:srgbClr val="68767E"/>
                </a:solidFill>
              </a:rPr>
              <a:t>Notice of Adverse Action, overpayment determination letters are mailed once additional records are reviewed and the conference is complete</a:t>
            </a: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742950" lvl="2" indent="-285750">
              <a:lnSpc>
                <a:spcPct val="80000"/>
              </a:lnSpc>
              <a:buClr>
                <a:srgbClr val="FF6633"/>
              </a:buClr>
              <a:buFont typeface="Arial" panose="020B0604020202020204" pitchFamily="34" charset="0"/>
              <a:buChar char="•"/>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742950" lvl="2" indent="-285750">
              <a:lnSpc>
                <a:spcPct val="80000"/>
              </a:lnSpc>
              <a:buClr>
                <a:srgbClr val="FF6633"/>
              </a:buClr>
              <a:buFont typeface="Arial" panose="020B0604020202020204" pitchFamily="34" charset="0"/>
              <a:buChar char="•"/>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1" algn="l" defTabSz="914400" rtl="0" eaLnBrk="0" fontAlgn="base" latinLnBrk="0" hangingPunct="0">
              <a:lnSpc>
                <a:spcPct val="80000"/>
              </a:lnSpc>
              <a:spcBef>
                <a:spcPct val="0"/>
              </a:spcBef>
              <a:spcAft>
                <a:spcPct val="0"/>
              </a:spcAft>
              <a:buClr>
                <a:srgbClr val="FF6633"/>
              </a:buClr>
              <a:buSzTx/>
              <a:tabLst/>
              <a:defRPr/>
            </a:pPr>
            <a:endParaRPr lang="en-US" sz="1400" dirty="0">
              <a:solidFill>
                <a:srgbClr val="68767E"/>
              </a:solidFill>
            </a:endParaRP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0" marR="0" lvl="1" algn="l" defTabSz="914400" rtl="0" eaLnBrk="0" fontAlgn="base" latinLnBrk="0" hangingPunct="0">
              <a:lnSpc>
                <a:spcPct val="80000"/>
              </a:lnSpc>
              <a:spcBef>
                <a:spcPct val="0"/>
              </a:spcBef>
              <a:spcAft>
                <a:spcPct val="0"/>
              </a:spcAft>
              <a:buClr>
                <a:srgbClr val="FF6633"/>
              </a:buClr>
              <a:buSzTx/>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2" name="TextBox 11">
            <a:extLst>
              <a:ext uri="{FF2B5EF4-FFF2-40B4-BE49-F238E27FC236}">
                <a16:creationId xmlns:a16="http://schemas.microsoft.com/office/drawing/2014/main" id="{EAD2C9E8-27EC-4D84-9C1B-F1DD1BCD5297}"/>
              </a:ext>
            </a:extLst>
          </p:cNvPr>
          <p:cNvSpPr txBox="1"/>
          <p:nvPr/>
        </p:nvSpPr>
        <p:spPr>
          <a:xfrm>
            <a:off x="865820" y="1633395"/>
            <a:ext cx="5230180" cy="646331"/>
          </a:xfrm>
          <a:prstGeom prst="rect">
            <a:avLst/>
          </a:prstGeom>
          <a:noFill/>
        </p:spPr>
        <p:txBody>
          <a:bodyPr wrap="square">
            <a:spAutoFit/>
          </a:bodyPr>
          <a:lstStyle/>
          <a:p>
            <a:r>
              <a:rPr lang="en-US" sz="1800" dirty="0">
                <a:solidFill>
                  <a:srgbClr val="68767E"/>
                </a:solidFill>
              </a:rPr>
              <a:t>Exit conferences are optional and must be requested by the provider.	</a:t>
            </a:r>
            <a:endParaRPr lang="en-US" dirty="0"/>
          </a:p>
        </p:txBody>
      </p:sp>
    </p:spTree>
    <p:extLst>
      <p:ext uri="{BB962C8B-B14F-4D97-AF65-F5344CB8AC3E}">
        <p14:creationId xmlns:p14="http://schemas.microsoft.com/office/powerpoint/2010/main" val="334399118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4F299E-4DD2-FE99-4C89-4825EAAD66CE}"/>
              </a:ext>
            </a:extLst>
          </p:cNvPr>
          <p:cNvSpPr>
            <a:spLocks noGrp="1"/>
          </p:cNvSpPr>
          <p:nvPr>
            <p:ph type="sldNum" sz="quarter" idx="10"/>
          </p:nvPr>
        </p:nvSpPr>
        <p:spPr/>
        <p:txBody>
          <a:bodyPr/>
          <a:lstStyle/>
          <a:p>
            <a:fld id="{4D2556A0-B583-7949-8874-9B74B908AF8A}" type="slidenum">
              <a:rPr lang="uk-UA" altLang="en-US" smtClean="0"/>
              <a:pPr/>
              <a:t>21</a:t>
            </a:fld>
            <a:endParaRPr lang="uk-UA" altLang="en-US"/>
          </a:p>
        </p:txBody>
      </p:sp>
      <p:sp>
        <p:nvSpPr>
          <p:cNvPr id="5" name="Footer Placeholder 4">
            <a:extLst>
              <a:ext uri="{FF2B5EF4-FFF2-40B4-BE49-F238E27FC236}">
                <a16:creationId xmlns:a16="http://schemas.microsoft.com/office/drawing/2014/main" id="{E71DB7B4-C14A-5C78-AAB5-123E5C4FE94E}"/>
              </a:ext>
            </a:extLst>
          </p:cNvPr>
          <p:cNvSpPr>
            <a:spLocks noGrp="1"/>
          </p:cNvSpPr>
          <p:nvPr>
            <p:ph type="ftr" sz="quarter" idx="11"/>
          </p:nvPr>
        </p:nvSpPr>
        <p:spPr/>
        <p:txBody>
          <a:bodyPr/>
          <a:lstStyle/>
          <a:p>
            <a:pPr>
              <a:defRPr/>
            </a:pPr>
            <a:r>
              <a:rPr lang="en-US" dirty="0"/>
              <a:t>HMS a Gainwell Company Confidential. Do not Distribute. HMS INTERNAL ONLY</a:t>
            </a:r>
          </a:p>
        </p:txBody>
      </p:sp>
      <p:pic>
        <p:nvPicPr>
          <p:cNvPr id="6" name="Picture 5">
            <a:extLst>
              <a:ext uri="{FF2B5EF4-FFF2-40B4-BE49-F238E27FC236}">
                <a16:creationId xmlns:a16="http://schemas.microsoft.com/office/drawing/2014/main" id="{BE78EF31-3A1C-191D-1426-82F228EC200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939913"/>
            <a:ext cx="12191999" cy="3015575"/>
          </a:xfrm>
          <a:prstGeom prst="rect">
            <a:avLst/>
          </a:prstGeom>
        </p:spPr>
      </p:pic>
      <p:sp>
        <p:nvSpPr>
          <p:cNvPr id="7" name="Title 1">
            <a:extLst>
              <a:ext uri="{FF2B5EF4-FFF2-40B4-BE49-F238E27FC236}">
                <a16:creationId xmlns:a16="http://schemas.microsoft.com/office/drawing/2014/main" id="{6CBE0356-6B1D-3C4C-79C1-09B22B952A60}"/>
              </a:ext>
            </a:extLst>
          </p:cNvPr>
          <p:cNvSpPr txBox="1">
            <a:spLocks/>
          </p:cNvSpPr>
          <p:nvPr/>
        </p:nvSpPr>
        <p:spPr>
          <a:xfrm>
            <a:off x="838200" y="1831510"/>
            <a:ext cx="3019425" cy="2391698"/>
          </a:xfrm>
          <a:prstGeom prst="rect">
            <a:avLst/>
          </a:prstGeom>
        </p:spPr>
        <p:txBody>
          <a:bodyPr vert="horz" lIns="91440" tIns="45720" rIns="91440" bIns="45720" rtlCol="0" anchor="ctr">
            <a:normAutofit/>
          </a:bodyPr>
          <a:lstStyle>
            <a:lvl1pPr marL="0" marR="0" indent="0" algn="l" defTabSz="914400" rtl="0" eaLnBrk="1" fontAlgn="auto" latinLnBrk="0" hangingPunct="1">
              <a:lnSpc>
                <a:spcPct val="90000"/>
              </a:lnSpc>
              <a:spcBef>
                <a:spcPct val="0"/>
              </a:spcBef>
              <a:spcAft>
                <a:spcPts val="0"/>
              </a:spcAft>
              <a:buClrTx/>
              <a:buSzTx/>
              <a:buFontTx/>
              <a:buNone/>
              <a:tabLst/>
              <a:defRPr lang="en-US" sz="3600" b="1" kern="1200" spc="-15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r>
              <a:rPr lang="en-US" dirty="0">
                <a:solidFill>
                  <a:schemeClr val="bg1"/>
                </a:solidFill>
              </a:rPr>
              <a:t>Review Timing</a:t>
            </a:r>
          </a:p>
        </p:txBody>
      </p:sp>
      <p:sp>
        <p:nvSpPr>
          <p:cNvPr id="8" name="Rounded Rectangle 11">
            <a:extLst>
              <a:ext uri="{FF2B5EF4-FFF2-40B4-BE49-F238E27FC236}">
                <a16:creationId xmlns:a16="http://schemas.microsoft.com/office/drawing/2014/main" id="{09CF4D37-B327-AB5A-CA5D-A24CA494296A}"/>
              </a:ext>
            </a:extLst>
          </p:cNvPr>
          <p:cNvSpPr/>
          <p:nvPr/>
        </p:nvSpPr>
        <p:spPr>
          <a:xfrm>
            <a:off x="4139510" y="1085442"/>
            <a:ext cx="7583647" cy="5192786"/>
          </a:xfrm>
          <a:prstGeom prst="roundRect">
            <a:avLst>
              <a:gd name="adj" fmla="val 1571"/>
            </a:avLst>
          </a:prstGeom>
          <a:noFill/>
          <a:ln w="3175">
            <a:solidFill>
              <a:srgbClr val="FF6633"/>
            </a:solidFill>
          </a:ln>
        </p:spPr>
        <p:txBody>
          <a:bodyPr wrap="square" rtlCol="0" anchor="ctr">
            <a:noAutofit/>
          </a:bodyPr>
          <a:lstStyle/>
          <a:p>
            <a:pPr algn="ctr"/>
            <a:endParaRPr lang="en-US" sz="7200" b="1" spc="-300" dirty="0">
              <a:solidFill>
                <a:schemeClr val="bg1"/>
              </a:solidFill>
            </a:endParaRPr>
          </a:p>
        </p:txBody>
      </p:sp>
      <p:graphicFrame>
        <p:nvGraphicFramePr>
          <p:cNvPr id="2" name="Table 1">
            <a:extLst>
              <a:ext uri="{FF2B5EF4-FFF2-40B4-BE49-F238E27FC236}">
                <a16:creationId xmlns:a16="http://schemas.microsoft.com/office/drawing/2014/main" id="{36C5710C-0580-343A-5D78-09D0D07DEB9B}"/>
              </a:ext>
            </a:extLst>
          </p:cNvPr>
          <p:cNvGraphicFramePr>
            <a:graphicFrameLocks noGrp="1"/>
          </p:cNvGraphicFramePr>
          <p:nvPr>
            <p:extLst>
              <p:ext uri="{D42A27DB-BD31-4B8C-83A1-F6EECF244321}">
                <p14:modId xmlns:p14="http://schemas.microsoft.com/office/powerpoint/2010/main" val="2794690951"/>
              </p:ext>
            </p:extLst>
          </p:nvPr>
        </p:nvGraphicFramePr>
        <p:xfrm>
          <a:off x="5976551" y="1617224"/>
          <a:ext cx="3909564" cy="4129223"/>
        </p:xfrm>
        <a:graphic>
          <a:graphicData uri="http://schemas.openxmlformats.org/drawingml/2006/table">
            <a:tbl>
              <a:tblPr firstRow="1" bandRow="1">
                <a:tableStyleId>{7E9639D4-E3E2-4D34-9284-5A2195B3D0D7}</a:tableStyleId>
              </a:tblPr>
              <a:tblGrid>
                <a:gridCol w="3909564">
                  <a:extLst>
                    <a:ext uri="{9D8B030D-6E8A-4147-A177-3AD203B41FA5}">
                      <a16:colId xmlns:a16="http://schemas.microsoft.com/office/drawing/2014/main" val="20001"/>
                    </a:ext>
                  </a:extLst>
                </a:gridCol>
              </a:tblGrid>
              <a:tr h="444974">
                <a:tc>
                  <a:txBody>
                    <a:bodyPr/>
                    <a:lstStyle/>
                    <a:p>
                      <a:pPr algn="ctr"/>
                      <a:r>
                        <a:rPr lang="en-US" sz="1000" b="1" dirty="0">
                          <a:solidFill>
                            <a:schemeClr val="bg1"/>
                          </a:solidFill>
                          <a:latin typeface="+mn-lt"/>
                          <a:ea typeface="MarkPro-Book" charset="0"/>
                          <a:cs typeface="MarkPro-Book" charset="0"/>
                        </a:rPr>
                        <a:t>Complex Review</a:t>
                      </a:r>
                    </a:p>
                  </a:txBody>
                  <a:tcPr marL="91437" marR="91437" marT="45729" marB="45729" anchor="ctr">
                    <a:lnL>
                      <a:noFill/>
                    </a:lnL>
                    <a:lnR>
                      <a:noFill/>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6633"/>
                    </a:solidFill>
                  </a:tcPr>
                </a:tc>
                <a:extLst>
                  <a:ext uri="{0D108BD9-81ED-4DB2-BD59-A6C34878D82A}">
                    <a16:rowId xmlns:a16="http://schemas.microsoft.com/office/drawing/2014/main" val="10000"/>
                  </a:ext>
                </a:extLst>
              </a:tr>
              <a:tr h="642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rPr>
                        <a:t>45 days to submit medical record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rPr>
                        <a:t>(submission options and instruc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rPr>
                        <a:t>listed on Medical Record Request Letter)</a:t>
                      </a: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70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10 days to request Exit Confer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from date Medical Record Request letter is mailed</a:t>
                      </a:r>
                      <a:endPar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5"/>
                  </a:ext>
                </a:extLst>
              </a:tr>
              <a:tr h="5199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Approximately 60 days for HMS to complete review</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540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      Agree – 30 days from the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       Demand Letter to return overpay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to the Departmen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3422257"/>
                  </a:ext>
                </a:extLst>
              </a:tr>
              <a:tr h="5357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Disagree– 30 days from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Notice of Adverse Action to subm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Informal Reconsideration Reques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847878"/>
                  </a:ext>
                </a:extLst>
              </a:tr>
              <a:tr h="8334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Disagree– 30 days from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Notice of Adverse Action or Inform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Reconsideration response to f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appeal to Office of Administrative Courts</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pic>
        <p:nvPicPr>
          <p:cNvPr id="12" name="Picture 11">
            <a:extLst>
              <a:ext uri="{FF2B5EF4-FFF2-40B4-BE49-F238E27FC236}">
                <a16:creationId xmlns:a16="http://schemas.microsoft.com/office/drawing/2014/main" id="{4EB75BFF-6EC5-267B-2BB5-2D47502DA53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2129133"/>
            <a:ext cx="546472" cy="546472"/>
          </a:xfrm>
          <a:prstGeom prst="rect">
            <a:avLst/>
          </a:prstGeom>
        </p:spPr>
      </p:pic>
      <p:pic>
        <p:nvPicPr>
          <p:cNvPr id="13" name="Picture 12">
            <a:extLst>
              <a:ext uri="{FF2B5EF4-FFF2-40B4-BE49-F238E27FC236}">
                <a16:creationId xmlns:a16="http://schemas.microsoft.com/office/drawing/2014/main" id="{A23BD938-3B19-1896-2CBB-159249D88FEC}"/>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2717995"/>
            <a:ext cx="546472" cy="546472"/>
          </a:xfrm>
          <a:prstGeom prst="rect">
            <a:avLst/>
          </a:prstGeom>
        </p:spPr>
      </p:pic>
      <p:pic>
        <p:nvPicPr>
          <p:cNvPr id="14" name="Picture 13">
            <a:extLst>
              <a:ext uri="{FF2B5EF4-FFF2-40B4-BE49-F238E27FC236}">
                <a16:creationId xmlns:a16="http://schemas.microsoft.com/office/drawing/2014/main" id="{38DB9F18-883E-FD56-C5C6-2D8C0AF24707}"/>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3295749"/>
            <a:ext cx="546472" cy="546472"/>
          </a:xfrm>
          <a:prstGeom prst="rect">
            <a:avLst/>
          </a:prstGeom>
        </p:spPr>
      </p:pic>
      <p:pic>
        <p:nvPicPr>
          <p:cNvPr id="15" name="Picture 14">
            <a:extLst>
              <a:ext uri="{FF2B5EF4-FFF2-40B4-BE49-F238E27FC236}">
                <a16:creationId xmlns:a16="http://schemas.microsoft.com/office/drawing/2014/main" id="{65BC24A7-FBE8-E084-00AD-1F9EE89EDD48}"/>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3842221"/>
            <a:ext cx="546472" cy="546472"/>
          </a:xfrm>
          <a:prstGeom prst="rect">
            <a:avLst/>
          </a:prstGeom>
        </p:spPr>
      </p:pic>
      <p:pic>
        <p:nvPicPr>
          <p:cNvPr id="16" name="Picture 15">
            <a:extLst>
              <a:ext uri="{FF2B5EF4-FFF2-40B4-BE49-F238E27FC236}">
                <a16:creationId xmlns:a16="http://schemas.microsoft.com/office/drawing/2014/main" id="{5B8BFD4E-D337-FA3D-76C3-96DE4737F0D8}"/>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4380513"/>
            <a:ext cx="546472" cy="546472"/>
          </a:xfrm>
          <a:prstGeom prst="rect">
            <a:avLst/>
          </a:prstGeom>
        </p:spPr>
      </p:pic>
      <p:pic>
        <p:nvPicPr>
          <p:cNvPr id="17" name="Picture 16">
            <a:extLst>
              <a:ext uri="{FF2B5EF4-FFF2-40B4-BE49-F238E27FC236}">
                <a16:creationId xmlns:a16="http://schemas.microsoft.com/office/drawing/2014/main" id="{DA476775-74C2-67B7-7236-685D9CF28150}"/>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5068843"/>
            <a:ext cx="546472" cy="546472"/>
          </a:xfrm>
          <a:prstGeom prst="rect">
            <a:avLst/>
          </a:prstGeom>
        </p:spPr>
      </p:pic>
    </p:spTree>
    <p:extLst>
      <p:ext uri="{BB962C8B-B14F-4D97-AF65-F5344CB8AC3E}">
        <p14:creationId xmlns:p14="http://schemas.microsoft.com/office/powerpoint/2010/main" val="8983564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Provider Portal</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Tree>
    <p:extLst>
      <p:ext uri="{BB962C8B-B14F-4D97-AF65-F5344CB8AC3E}">
        <p14:creationId xmlns:p14="http://schemas.microsoft.com/office/powerpoint/2010/main" val="38316583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972EE-8084-A022-D2F7-3848745315F6}"/>
              </a:ext>
            </a:extLst>
          </p:cNvPr>
          <p:cNvSpPr>
            <a:spLocks noGrp="1"/>
          </p:cNvSpPr>
          <p:nvPr>
            <p:ph type="title"/>
          </p:nvPr>
        </p:nvSpPr>
        <p:spPr>
          <a:xfrm>
            <a:off x="314325" y="0"/>
            <a:ext cx="10162034" cy="1325563"/>
          </a:xfrm>
        </p:spPr>
        <p:txBody>
          <a:bodyPr/>
          <a:lstStyle/>
          <a:p>
            <a:r>
              <a:rPr lang="en-US" dirty="0"/>
              <a:t>Provider Portal Home screen</a:t>
            </a:r>
          </a:p>
        </p:txBody>
      </p:sp>
      <p:pic>
        <p:nvPicPr>
          <p:cNvPr id="6" name="Content Placeholder 5">
            <a:extLst>
              <a:ext uri="{FF2B5EF4-FFF2-40B4-BE49-F238E27FC236}">
                <a16:creationId xmlns:a16="http://schemas.microsoft.com/office/drawing/2014/main" id="{7DB49371-D3C9-46B2-1713-D20F89551DD0}"/>
              </a:ext>
            </a:extLst>
          </p:cNvPr>
          <p:cNvPicPr>
            <a:picLocks noGrp="1" noChangeAspect="1"/>
          </p:cNvPicPr>
          <p:nvPr>
            <p:ph idx="1"/>
          </p:nvPr>
        </p:nvPicPr>
        <p:blipFill>
          <a:blip r:embed="rId3"/>
          <a:stretch>
            <a:fillRect/>
          </a:stretch>
        </p:blipFill>
        <p:spPr>
          <a:xfrm>
            <a:off x="470917" y="904875"/>
            <a:ext cx="10882883" cy="5240069"/>
          </a:xfrm>
          <a:prstGeom prst="rect">
            <a:avLst/>
          </a:prstGeom>
          <a:ln>
            <a:noFill/>
          </a:ln>
          <a:effectLst>
            <a:outerShdw blurRad="292100" dist="139700" dir="2700000" algn="tl" rotWithShape="0">
              <a:srgbClr val="333333">
                <a:alpha val="65000"/>
              </a:srgbClr>
            </a:outerShdw>
          </a:effectLst>
        </p:spPr>
      </p:pic>
      <p:sp>
        <p:nvSpPr>
          <p:cNvPr id="4" name="Slide Number Placeholder 3">
            <a:extLst>
              <a:ext uri="{FF2B5EF4-FFF2-40B4-BE49-F238E27FC236}">
                <a16:creationId xmlns:a16="http://schemas.microsoft.com/office/drawing/2014/main" id="{C699865B-C9A8-4278-F8BD-11DB27A13BD5}"/>
              </a:ext>
            </a:extLst>
          </p:cNvPr>
          <p:cNvSpPr>
            <a:spLocks noGrp="1"/>
          </p:cNvSpPr>
          <p:nvPr>
            <p:ph type="sldNum" sz="quarter" idx="10"/>
          </p:nvPr>
        </p:nvSpPr>
        <p:spPr/>
        <p:txBody>
          <a:bodyPr/>
          <a:lstStyle/>
          <a:p>
            <a:fld id="{E1D6E511-78F2-1D4C-8218-60E971E66380}" type="slidenum">
              <a:rPr lang="en-US" altLang="en-US" smtClean="0"/>
              <a:pPr/>
              <a:t>23</a:t>
            </a:fld>
            <a:endParaRPr lang="en-US" altLang="en-US" dirty="0"/>
          </a:p>
        </p:txBody>
      </p:sp>
      <p:sp>
        <p:nvSpPr>
          <p:cNvPr id="7" name="Rectangle 6">
            <a:extLst>
              <a:ext uri="{FF2B5EF4-FFF2-40B4-BE49-F238E27FC236}">
                <a16:creationId xmlns:a16="http://schemas.microsoft.com/office/drawing/2014/main" id="{1248CD40-543D-9230-1FD1-AC1DD2A0B79F}"/>
              </a:ext>
            </a:extLst>
          </p:cNvPr>
          <p:cNvSpPr/>
          <p:nvPr/>
        </p:nvSpPr>
        <p:spPr>
          <a:xfrm>
            <a:off x="4581525" y="904875"/>
            <a:ext cx="914400" cy="914400"/>
          </a:xfrm>
          <a:prstGeom prst="rect">
            <a:avLst/>
          </a:prstGeom>
        </p:spPr>
        <p:txBody>
          <a:bodyPr rtlCol="0" anchor="ctr">
            <a:spAutoFit/>
          </a:bodyPr>
          <a:lstStyle/>
          <a:p>
            <a:pPr algn="ctr"/>
            <a:endParaRPr lang="en-US" sz="7200" b="1" spc="-300" dirty="0">
              <a:solidFill>
                <a:schemeClr val="bg1"/>
              </a:solidFill>
            </a:endParaRPr>
          </a:p>
        </p:txBody>
      </p:sp>
      <p:sp>
        <p:nvSpPr>
          <p:cNvPr id="12" name="Footer Placeholder 2">
            <a:extLst>
              <a:ext uri="{FF2B5EF4-FFF2-40B4-BE49-F238E27FC236}">
                <a16:creationId xmlns:a16="http://schemas.microsoft.com/office/drawing/2014/main" id="{AFF68B06-0F4B-A71C-15F5-4B2E648D290D}"/>
              </a:ext>
            </a:extLst>
          </p:cNvPr>
          <p:cNvSpPr txBox="1">
            <a:spLocks/>
          </p:cNvSpPr>
          <p:nvPr/>
        </p:nvSpPr>
        <p:spPr>
          <a:xfrm>
            <a:off x="838200" y="6439475"/>
            <a:ext cx="4114800" cy="365125"/>
          </a:xfrm>
          <a:prstGeom prst="rect">
            <a:avLst/>
          </a:prstGeom>
        </p:spPr>
        <p:txBody>
          <a:bodyPr vert="horz" lIns="91440" tIns="45720" rIns="91440" bIns="45720" rtlCol="0">
            <a:normAutofit/>
          </a:bodyPr>
          <a:lst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Arial" charset="0"/>
              </a:rPr>
              <a:t>HMS a Gainwell Company Confidential. Do not distribute.</a:t>
            </a:r>
          </a:p>
        </p:txBody>
      </p:sp>
    </p:spTree>
    <p:extLst>
      <p:ext uri="{BB962C8B-B14F-4D97-AF65-F5344CB8AC3E}">
        <p14:creationId xmlns:p14="http://schemas.microsoft.com/office/powerpoint/2010/main" val="22898431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FD7B-B3DE-A8EE-6AD8-DAF27F1F95D8}"/>
              </a:ext>
            </a:extLst>
          </p:cNvPr>
          <p:cNvSpPr>
            <a:spLocks noGrp="1"/>
          </p:cNvSpPr>
          <p:nvPr>
            <p:ph type="title"/>
          </p:nvPr>
        </p:nvSpPr>
        <p:spPr>
          <a:xfrm>
            <a:off x="400623" y="-125744"/>
            <a:ext cx="10162034" cy="1325563"/>
          </a:xfrm>
        </p:spPr>
        <p:txBody>
          <a:bodyPr/>
          <a:lstStyle/>
          <a:p>
            <a:r>
              <a:rPr lang="en-US" dirty="0"/>
              <a:t>Manage Claims for Multiple Facilities</a:t>
            </a:r>
          </a:p>
        </p:txBody>
      </p:sp>
      <p:sp>
        <p:nvSpPr>
          <p:cNvPr id="3" name="Content Placeholder 2">
            <a:extLst>
              <a:ext uri="{FF2B5EF4-FFF2-40B4-BE49-F238E27FC236}">
                <a16:creationId xmlns:a16="http://schemas.microsoft.com/office/drawing/2014/main" id="{6283E254-024A-B06A-FA1E-4BF02033CB4A}"/>
              </a:ext>
            </a:extLst>
          </p:cNvPr>
          <p:cNvSpPr>
            <a:spLocks noGrp="1"/>
          </p:cNvSpPr>
          <p:nvPr>
            <p:ph idx="1"/>
          </p:nvPr>
        </p:nvSpPr>
        <p:spPr>
          <a:xfrm>
            <a:off x="438727" y="812799"/>
            <a:ext cx="10943648" cy="5765800"/>
          </a:xfrm>
        </p:spPr>
        <p:txBody>
          <a:bodyPr>
            <a:normAutofit/>
          </a:bodyPr>
          <a:lstStyle/>
          <a:p>
            <a:r>
              <a:rPr lang="en-US" sz="2000" dirty="0"/>
              <a:t>Access to Multiple facilities- Use dropdown to select the facility you would like to select claims for.</a:t>
            </a:r>
          </a:p>
          <a:p>
            <a:endParaRPr lang="en-US" sz="2000" dirty="0"/>
          </a:p>
          <a:p>
            <a:endParaRPr lang="en-US" sz="2000" dirty="0"/>
          </a:p>
          <a:p>
            <a:endParaRPr lang="en-US" sz="2000" dirty="0"/>
          </a:p>
          <a:p>
            <a:r>
              <a:rPr lang="en-US" sz="2000" dirty="0"/>
              <a:t>Review Claims- The dashboard captures all the audits HMS has ever done for the facility selected.</a:t>
            </a:r>
          </a:p>
          <a:p>
            <a:endParaRPr lang="en-US" sz="2000" dirty="0"/>
          </a:p>
          <a:p>
            <a:endParaRPr lang="en-US" sz="2000" dirty="0"/>
          </a:p>
          <a:p>
            <a:endParaRPr lang="en-US" sz="2000" dirty="0"/>
          </a:p>
          <a:p>
            <a:endParaRPr lang="en-US" sz="2000" dirty="0"/>
          </a:p>
          <a:p>
            <a:endParaRPr lang="en-US" sz="2000" dirty="0"/>
          </a:p>
          <a:p>
            <a:r>
              <a:rPr lang="en-US" sz="2000" dirty="0"/>
              <a:t>Medical Records Requested for Review- This index card displays the number of claims that are outstanding and need medical records. These claims are also referenced under Claims Summary as Pending Documentation.</a:t>
            </a:r>
          </a:p>
          <a:p>
            <a:endParaRPr lang="en-US" sz="2000" dirty="0"/>
          </a:p>
          <a:p>
            <a:endParaRPr lang="en-US" dirty="0"/>
          </a:p>
        </p:txBody>
      </p:sp>
      <p:sp>
        <p:nvSpPr>
          <p:cNvPr id="4" name="Slide Number Placeholder 3">
            <a:extLst>
              <a:ext uri="{FF2B5EF4-FFF2-40B4-BE49-F238E27FC236}">
                <a16:creationId xmlns:a16="http://schemas.microsoft.com/office/drawing/2014/main" id="{2797FA13-7385-9BBA-E8F3-887D2CEEC438}"/>
              </a:ext>
            </a:extLst>
          </p:cNvPr>
          <p:cNvSpPr>
            <a:spLocks noGrp="1"/>
          </p:cNvSpPr>
          <p:nvPr>
            <p:ph type="sldNum" sz="quarter" idx="10"/>
          </p:nvPr>
        </p:nvSpPr>
        <p:spPr/>
        <p:txBody>
          <a:bodyPr/>
          <a:lstStyle/>
          <a:p>
            <a:fld id="{E1D6E511-78F2-1D4C-8218-60E971E66380}" type="slidenum">
              <a:rPr lang="en-US" altLang="en-US" smtClean="0"/>
              <a:pPr/>
              <a:t>24</a:t>
            </a:fld>
            <a:endParaRPr lang="en-US" altLang="en-US" dirty="0"/>
          </a:p>
        </p:txBody>
      </p:sp>
      <p:pic>
        <p:nvPicPr>
          <p:cNvPr id="6" name="Picture 5">
            <a:extLst>
              <a:ext uri="{FF2B5EF4-FFF2-40B4-BE49-F238E27FC236}">
                <a16:creationId xmlns:a16="http://schemas.microsoft.com/office/drawing/2014/main" id="{0CBB8CE3-502B-8804-F2E1-1D307AF075F4}"/>
              </a:ext>
            </a:extLst>
          </p:cNvPr>
          <p:cNvPicPr>
            <a:picLocks noChangeAspect="1"/>
          </p:cNvPicPr>
          <p:nvPr/>
        </p:nvPicPr>
        <p:blipFill>
          <a:blip r:embed="rId3"/>
          <a:stretch>
            <a:fillRect/>
          </a:stretch>
        </p:blipFill>
        <p:spPr>
          <a:xfrm>
            <a:off x="638463" y="1264905"/>
            <a:ext cx="10915073" cy="124652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8" name="Picture 7">
            <a:extLst>
              <a:ext uri="{FF2B5EF4-FFF2-40B4-BE49-F238E27FC236}">
                <a16:creationId xmlns:a16="http://schemas.microsoft.com/office/drawing/2014/main" id="{4BD61EF2-4BB8-F8E2-7126-23ADF9CF91AE}"/>
              </a:ext>
            </a:extLst>
          </p:cNvPr>
          <p:cNvPicPr>
            <a:picLocks noChangeAspect="1"/>
          </p:cNvPicPr>
          <p:nvPr/>
        </p:nvPicPr>
        <p:blipFill>
          <a:blip r:embed="rId4"/>
          <a:stretch>
            <a:fillRect/>
          </a:stretch>
        </p:blipFill>
        <p:spPr>
          <a:xfrm>
            <a:off x="638461" y="3101856"/>
            <a:ext cx="10915075" cy="19428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Footer Placeholder 3">
            <a:extLst>
              <a:ext uri="{FF2B5EF4-FFF2-40B4-BE49-F238E27FC236}">
                <a16:creationId xmlns:a16="http://schemas.microsoft.com/office/drawing/2014/main" id="{4998EF40-3371-ADF0-BB13-F9DBDC97AF3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6465932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395569" y="-148175"/>
            <a:ext cx="10162034" cy="1325563"/>
          </a:xfrm>
        </p:spPr>
        <p:txBody>
          <a:bodyPr/>
          <a:lstStyle/>
          <a:p>
            <a:r>
              <a:rPr lang="en-US" dirty="0"/>
              <a:t>View Specific Claims</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395570" y="790891"/>
            <a:ext cx="10958230" cy="5727065"/>
          </a:xfrm>
        </p:spPr>
        <p:txBody>
          <a:bodyPr>
            <a:normAutofit lnSpcReduction="10000"/>
          </a:bodyPr>
          <a:lstStyle/>
          <a:p>
            <a:r>
              <a:rPr lang="en-US" sz="2000" dirty="0"/>
              <a:t>Review Claims- This will display the specific claims we still need medical records for.  The index card provides information including demographics on the claim such as; patient name, date of birth, sex, provider number, date of service etc.</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r>
              <a:rPr lang="en-US" sz="2000" dirty="0"/>
              <a:t>Claim Number/More Options- This screen gives additional detail for the claims including; paid amounts, patient control number and which facility the claim is for. Utilize the tabs on the bottom to reference more claims details.  </a:t>
            </a:r>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fld id="{E1D6E511-78F2-1D4C-8218-60E971E66380}" type="slidenum">
              <a:rPr lang="en-US" altLang="en-US" smtClean="0"/>
              <a:pPr/>
              <a:t>25</a:t>
            </a:fld>
            <a:endParaRPr lang="en-US" altLang="en-US" dirty="0"/>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11" name="Picture 10">
            <a:extLst>
              <a:ext uri="{FF2B5EF4-FFF2-40B4-BE49-F238E27FC236}">
                <a16:creationId xmlns:a16="http://schemas.microsoft.com/office/drawing/2014/main" id="{9F102A14-C340-F0E6-5225-82326CA9F051}"/>
              </a:ext>
            </a:extLst>
          </p:cNvPr>
          <p:cNvPicPr>
            <a:picLocks noChangeAspect="1"/>
          </p:cNvPicPr>
          <p:nvPr/>
        </p:nvPicPr>
        <p:blipFill>
          <a:blip r:embed="rId3"/>
          <a:stretch>
            <a:fillRect/>
          </a:stretch>
        </p:blipFill>
        <p:spPr>
          <a:xfrm>
            <a:off x="727542" y="1736935"/>
            <a:ext cx="10736916" cy="32551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6110951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161132"/>
            <a:ext cx="10162034" cy="1325563"/>
          </a:xfrm>
        </p:spPr>
        <p:txBody>
          <a:bodyPr/>
          <a:lstStyle/>
          <a:p>
            <a:r>
              <a:rPr lang="en-US" dirty="0"/>
              <a:t>Claims Status and Submitting Medical Records</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7000" y="691197"/>
            <a:ext cx="10824881" cy="5814378"/>
          </a:xfrm>
        </p:spPr>
        <p:txBody>
          <a:bodyPr>
            <a:normAutofit lnSpcReduction="10000"/>
          </a:bodyPr>
          <a:lstStyle/>
          <a:p>
            <a:r>
              <a:rPr lang="en-US" sz="2000" dirty="0"/>
              <a:t>Activity Feed- Displays the history of the claim.  When the medical records have been received you will see the activity feed change within a few hours to “Claim in Review”  </a:t>
            </a:r>
          </a:p>
          <a:p>
            <a:endParaRPr lang="en-US" sz="2000" dirty="0"/>
          </a:p>
          <a:p>
            <a:endParaRPr lang="en-US" sz="2000" dirty="0"/>
          </a:p>
          <a:p>
            <a:endParaRPr lang="en-US" sz="2000" dirty="0"/>
          </a:p>
          <a:p>
            <a:endParaRPr lang="en-US" sz="2000" dirty="0"/>
          </a:p>
          <a:p>
            <a:r>
              <a:rPr lang="en-US" sz="2000" dirty="0"/>
              <a:t>Documents- The fastest way to get submit medical records to HMS is to upload them through the portal by using the “Select files” button. Remember all files must be in PDF format.  This screen also displays any medical records that have already been uploaded.  </a:t>
            </a:r>
          </a:p>
          <a:p>
            <a:endParaRPr lang="en-US" sz="2000" dirty="0"/>
          </a:p>
          <a:p>
            <a:endParaRPr lang="en-US" sz="2000" dirty="0"/>
          </a:p>
          <a:p>
            <a:endParaRPr lang="en-US" dirty="0"/>
          </a:p>
          <a:p>
            <a:endParaRPr lang="en-US" dirty="0"/>
          </a:p>
          <a:p>
            <a:pPr marL="0" indent="0">
              <a:buNone/>
            </a:pPr>
            <a:r>
              <a:rPr lang="en-US" dirty="0"/>
              <a:t> </a:t>
            </a:r>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fld id="{E1D6E511-78F2-1D4C-8218-60E971E66380}" type="slidenum">
              <a:rPr lang="en-US" altLang="en-US" smtClean="0"/>
              <a:pPr/>
              <a:t>26</a:t>
            </a:fld>
            <a:endParaRPr lang="en-US" altLang="en-US" dirty="0"/>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17" name="Picture 16">
            <a:extLst>
              <a:ext uri="{FF2B5EF4-FFF2-40B4-BE49-F238E27FC236}">
                <a16:creationId xmlns:a16="http://schemas.microsoft.com/office/drawing/2014/main" id="{BA000897-73F0-D188-CDCC-354AF14B9E57}"/>
              </a:ext>
            </a:extLst>
          </p:cNvPr>
          <p:cNvPicPr>
            <a:picLocks noChangeAspect="1"/>
          </p:cNvPicPr>
          <p:nvPr/>
        </p:nvPicPr>
        <p:blipFill>
          <a:blip r:embed="rId3"/>
          <a:stretch>
            <a:fillRect/>
          </a:stretch>
        </p:blipFill>
        <p:spPr>
          <a:xfrm>
            <a:off x="777241" y="1403588"/>
            <a:ext cx="7035166" cy="16002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9" name="Picture 18">
            <a:extLst>
              <a:ext uri="{FF2B5EF4-FFF2-40B4-BE49-F238E27FC236}">
                <a16:creationId xmlns:a16="http://schemas.microsoft.com/office/drawing/2014/main" id="{992F852A-1D81-2224-6C75-35FC9CCAB097}"/>
              </a:ext>
            </a:extLst>
          </p:cNvPr>
          <p:cNvPicPr>
            <a:picLocks noChangeAspect="1"/>
          </p:cNvPicPr>
          <p:nvPr/>
        </p:nvPicPr>
        <p:blipFill>
          <a:blip r:embed="rId4"/>
          <a:stretch>
            <a:fillRect/>
          </a:stretch>
        </p:blipFill>
        <p:spPr>
          <a:xfrm>
            <a:off x="777241" y="4024312"/>
            <a:ext cx="10515600" cy="233203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4158743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161132"/>
            <a:ext cx="10162034" cy="1325563"/>
          </a:xfrm>
        </p:spPr>
        <p:txBody>
          <a:bodyPr/>
          <a:lstStyle/>
          <a:p>
            <a:r>
              <a:rPr lang="en-US" dirty="0"/>
              <a:t>Update Address Contact Information</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7001" y="823395"/>
            <a:ext cx="11027481" cy="5242878"/>
          </a:xfrm>
        </p:spPr>
        <p:txBody>
          <a:bodyPr>
            <a:normAutofit/>
          </a:bodyPr>
          <a:lstStyle/>
          <a:p>
            <a:r>
              <a:rPr lang="en-US" sz="2000" dirty="0"/>
              <a:t>Addresses- Allows providers to update the mailing information by clicking + ADD.</a:t>
            </a:r>
          </a:p>
          <a:p>
            <a:endParaRPr lang="en-US" sz="2000" dirty="0"/>
          </a:p>
          <a:p>
            <a:endParaRPr lang="en-US" sz="2000" dirty="0"/>
          </a:p>
          <a:p>
            <a:endParaRPr lang="en-US" sz="2000" dirty="0"/>
          </a:p>
          <a:p>
            <a:endParaRPr lang="en-US" sz="2000" dirty="0"/>
          </a:p>
          <a:p>
            <a:endParaRPr lang="en-US" sz="2000" dirty="0"/>
          </a:p>
          <a:p>
            <a:r>
              <a:rPr lang="en-US" sz="2000" dirty="0"/>
              <a:t>Updating Addresses- When updating the addresses, providers should only utilize 2 Address Types:</a:t>
            </a:r>
          </a:p>
          <a:p>
            <a:pPr lvl="1"/>
            <a:r>
              <a:rPr lang="en-US" sz="2000" dirty="0"/>
              <a:t>Provider Address for medical record request letters Address- All medical record requests will be mailed to the address provided under this Address Type</a:t>
            </a:r>
          </a:p>
          <a:p>
            <a:pPr lvl="1"/>
            <a:r>
              <a:rPr lang="en-US" sz="2000" dirty="0"/>
              <a:t>Provider Address for Notification/Determination letters Address- All notifications such as findings and appeal determinations will be mailed to the address provided under this Address Type.</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fld id="{E1D6E511-78F2-1D4C-8218-60E971E66380}" type="slidenum">
              <a:rPr lang="en-US" altLang="en-US" smtClean="0"/>
              <a:pPr/>
              <a:t>27</a:t>
            </a:fld>
            <a:endParaRPr lang="en-US" altLang="en-US" dirty="0"/>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6" name="Picture 5">
            <a:extLst>
              <a:ext uri="{FF2B5EF4-FFF2-40B4-BE49-F238E27FC236}">
                <a16:creationId xmlns:a16="http://schemas.microsoft.com/office/drawing/2014/main" id="{4D15981E-729E-1FE3-D4E0-59822F8BC85B}"/>
              </a:ext>
            </a:extLst>
          </p:cNvPr>
          <p:cNvPicPr>
            <a:picLocks noChangeAspect="1"/>
          </p:cNvPicPr>
          <p:nvPr/>
        </p:nvPicPr>
        <p:blipFill>
          <a:blip r:embed="rId3"/>
          <a:stretch>
            <a:fillRect/>
          </a:stretch>
        </p:blipFill>
        <p:spPr>
          <a:xfrm>
            <a:off x="757519" y="1243806"/>
            <a:ext cx="10596281" cy="20867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125881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161132"/>
            <a:ext cx="10162034" cy="1325563"/>
          </a:xfrm>
        </p:spPr>
        <p:txBody>
          <a:bodyPr/>
          <a:lstStyle/>
          <a:p>
            <a:r>
              <a:rPr lang="en-US" dirty="0"/>
              <a:t>Update Contact Information</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7000" y="807561"/>
            <a:ext cx="11027481" cy="5242878"/>
          </a:xfrm>
        </p:spPr>
        <p:txBody>
          <a:bodyPr>
            <a:normAutofit/>
          </a:bodyPr>
          <a:lstStyle/>
          <a:p>
            <a:r>
              <a:rPr lang="en-US" sz="2000" dirty="0"/>
              <a:t>Contacts- Allows providers to update the Contact information by using + ADD.</a:t>
            </a:r>
          </a:p>
          <a:p>
            <a:endParaRPr lang="en-US" sz="2000" dirty="0"/>
          </a:p>
          <a:p>
            <a:endParaRPr lang="en-US" sz="2000" dirty="0"/>
          </a:p>
          <a:p>
            <a:endParaRPr lang="en-US" sz="2000" dirty="0"/>
          </a:p>
          <a:p>
            <a:endParaRPr lang="en-US" sz="2000" dirty="0"/>
          </a:p>
          <a:p>
            <a:endParaRPr lang="en-US" sz="2000" dirty="0"/>
          </a:p>
          <a:p>
            <a:r>
              <a:rPr lang="en-US" sz="2000" dirty="0"/>
              <a:t>Updating Contacts- The contact information will be used by the Provider Relations Team when they are doing their courtesy call outs. Providers should only utilize 2 Contact Types:</a:t>
            </a:r>
          </a:p>
          <a:p>
            <a:pPr lvl="1"/>
            <a:r>
              <a:rPr lang="en-US" sz="2000" dirty="0"/>
              <a:t>Provider Contact for medical record request letters Contact- All medical record requests will be mailed to the address provided under this Address Type</a:t>
            </a:r>
          </a:p>
          <a:p>
            <a:pPr lvl="1"/>
            <a:r>
              <a:rPr lang="en-US" sz="2000" dirty="0"/>
              <a:t>Provider Contact for Notification/Determination letters Contact- All notifications such as findings and appeal determinations will be mailed to the address provided under this Contact Type.</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fld id="{E1D6E511-78F2-1D4C-8218-60E971E66380}" type="slidenum">
              <a:rPr lang="en-US" altLang="en-US" smtClean="0"/>
              <a:pPr/>
              <a:t>28</a:t>
            </a:fld>
            <a:endParaRPr lang="en-US" altLang="en-US" dirty="0"/>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pic>
        <p:nvPicPr>
          <p:cNvPr id="6" name="Picture 5">
            <a:extLst>
              <a:ext uri="{FF2B5EF4-FFF2-40B4-BE49-F238E27FC236}">
                <a16:creationId xmlns:a16="http://schemas.microsoft.com/office/drawing/2014/main" id="{4D15981E-729E-1FE3-D4E0-59822F8BC85B}"/>
              </a:ext>
            </a:extLst>
          </p:cNvPr>
          <p:cNvPicPr>
            <a:picLocks noChangeAspect="1"/>
          </p:cNvPicPr>
          <p:nvPr/>
        </p:nvPicPr>
        <p:blipFill>
          <a:blip r:embed="rId3"/>
          <a:stretch>
            <a:fillRect/>
          </a:stretch>
        </p:blipFill>
        <p:spPr>
          <a:xfrm>
            <a:off x="757519" y="1250157"/>
            <a:ext cx="10596281" cy="208672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3422248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DFCA0-E5B5-4DA9-A6AB-F515A92FC2C6}"/>
              </a:ext>
            </a:extLst>
          </p:cNvPr>
          <p:cNvSpPr>
            <a:spLocks noGrp="1"/>
          </p:cNvSpPr>
          <p:nvPr>
            <p:ph type="title"/>
          </p:nvPr>
        </p:nvSpPr>
        <p:spPr/>
        <p:txBody>
          <a:bodyPr/>
          <a:lstStyle/>
          <a:p>
            <a:r>
              <a:rPr lang="en-US" dirty="0"/>
              <a:t>Additional Provider Portal- Resources</a:t>
            </a:r>
          </a:p>
        </p:txBody>
      </p:sp>
      <p:sp>
        <p:nvSpPr>
          <p:cNvPr id="4" name="Slide Number Placeholder 3">
            <a:extLst>
              <a:ext uri="{FF2B5EF4-FFF2-40B4-BE49-F238E27FC236}">
                <a16:creationId xmlns:a16="http://schemas.microsoft.com/office/drawing/2014/main" id="{31AF2170-5022-4AD8-9FF7-3CF6C5CEA4FD}"/>
              </a:ext>
            </a:extLst>
          </p:cNvPr>
          <p:cNvSpPr>
            <a:spLocks noGrp="1"/>
          </p:cNvSpPr>
          <p:nvPr>
            <p:ph type="sldNum" sz="quarter" idx="10"/>
          </p:nvPr>
        </p:nvSpPr>
        <p:spPr/>
        <p:txBody>
          <a:bodyPr/>
          <a:lstStyle/>
          <a:p>
            <a:fld id="{E1D6E511-78F2-1D4C-8218-60E971E66380}" type="slidenum">
              <a:rPr lang="en-US" altLang="en-US" smtClean="0"/>
              <a:pPr/>
              <a:t>29</a:t>
            </a:fld>
            <a:endParaRPr lang="en-US" altLang="en-US" dirty="0"/>
          </a:p>
        </p:txBody>
      </p:sp>
      <p:sp>
        <p:nvSpPr>
          <p:cNvPr id="8" name="Rectangle: Rounded Corners 7">
            <a:extLst>
              <a:ext uri="{FF2B5EF4-FFF2-40B4-BE49-F238E27FC236}">
                <a16:creationId xmlns:a16="http://schemas.microsoft.com/office/drawing/2014/main" id="{BA9B6863-6C96-4AB6-A1B6-FA91CE386266}"/>
              </a:ext>
            </a:extLst>
          </p:cNvPr>
          <p:cNvSpPr/>
          <p:nvPr/>
        </p:nvSpPr>
        <p:spPr>
          <a:xfrm>
            <a:off x="1724024" y="1964941"/>
            <a:ext cx="9629775"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FAQ- Review answers to commonly asked questions regarding the use of the portal.  </a:t>
            </a:r>
          </a:p>
        </p:txBody>
      </p:sp>
      <p:sp>
        <p:nvSpPr>
          <p:cNvPr id="9" name="Rectangle: Rounded Corners 8">
            <a:extLst>
              <a:ext uri="{FF2B5EF4-FFF2-40B4-BE49-F238E27FC236}">
                <a16:creationId xmlns:a16="http://schemas.microsoft.com/office/drawing/2014/main" id="{DC8F5382-95F5-40CF-9C85-78240E4A913A}"/>
              </a:ext>
            </a:extLst>
          </p:cNvPr>
          <p:cNvSpPr/>
          <p:nvPr/>
        </p:nvSpPr>
        <p:spPr>
          <a:xfrm>
            <a:off x="1724023" y="2489200"/>
            <a:ext cx="9629776"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Explore HMS-  Takes you to HMS homepage where you can learn more about HMS.</a:t>
            </a:r>
          </a:p>
        </p:txBody>
      </p:sp>
      <p:sp>
        <p:nvSpPr>
          <p:cNvPr id="46" name="Footer Placeholder 3">
            <a:extLst>
              <a:ext uri="{FF2B5EF4-FFF2-40B4-BE49-F238E27FC236}">
                <a16:creationId xmlns:a16="http://schemas.microsoft.com/office/drawing/2014/main" id="{26FD64B5-D1D4-4541-9D4B-B90FA30EC8A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sp>
        <p:nvSpPr>
          <p:cNvPr id="47" name="Rectangle: Rounded Corners 8">
            <a:extLst>
              <a:ext uri="{FF2B5EF4-FFF2-40B4-BE49-F238E27FC236}">
                <a16:creationId xmlns:a16="http://schemas.microsoft.com/office/drawing/2014/main" id="{DC8F5382-95F5-40CF-9C85-78240E4A913A}"/>
              </a:ext>
            </a:extLst>
          </p:cNvPr>
          <p:cNvSpPr/>
          <p:nvPr/>
        </p:nvSpPr>
        <p:spPr>
          <a:xfrm>
            <a:off x="1724022" y="3028631"/>
            <a:ext cx="9629777"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Training- Watch training that will help with navigating and utilizing all benefits the portal has to offer.</a:t>
            </a:r>
          </a:p>
        </p:txBody>
      </p:sp>
      <p:sp>
        <p:nvSpPr>
          <p:cNvPr id="3" name="Rectangle: Rounded Corners 8">
            <a:extLst>
              <a:ext uri="{FF2B5EF4-FFF2-40B4-BE49-F238E27FC236}">
                <a16:creationId xmlns:a16="http://schemas.microsoft.com/office/drawing/2014/main" id="{0DBD5F48-95C8-A6DE-24A6-D60F64E49AAB}"/>
              </a:ext>
            </a:extLst>
          </p:cNvPr>
          <p:cNvSpPr/>
          <p:nvPr/>
        </p:nvSpPr>
        <p:spPr>
          <a:xfrm>
            <a:off x="1724023" y="3568062"/>
            <a:ext cx="9629776"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HMS Newsroom- Keep up to date on news articles that will help you get to know HMS better</a:t>
            </a:r>
          </a:p>
        </p:txBody>
      </p:sp>
      <p:pic>
        <p:nvPicPr>
          <p:cNvPr id="17" name="Graphic 16" descr="Television with solid fill">
            <a:extLst>
              <a:ext uri="{FF2B5EF4-FFF2-40B4-BE49-F238E27FC236}">
                <a16:creationId xmlns:a16="http://schemas.microsoft.com/office/drawing/2014/main" id="{D25480C0-0A9A-8B9E-5E1B-1975312429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1740" y="2471100"/>
            <a:ext cx="542925" cy="542925"/>
          </a:xfrm>
          <a:prstGeom prst="rect">
            <a:avLst/>
          </a:prstGeom>
        </p:spPr>
      </p:pic>
      <p:pic>
        <p:nvPicPr>
          <p:cNvPr id="49" name="Graphic 48" descr="Question Mark with solid fill">
            <a:extLst>
              <a:ext uri="{FF2B5EF4-FFF2-40B4-BE49-F238E27FC236}">
                <a16:creationId xmlns:a16="http://schemas.microsoft.com/office/drawing/2014/main" id="{E46D0477-664E-F9C5-8C87-0ABFF5CCAB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0429" y="1964941"/>
            <a:ext cx="514352" cy="514352"/>
          </a:xfrm>
          <a:prstGeom prst="rect">
            <a:avLst/>
          </a:prstGeom>
        </p:spPr>
      </p:pic>
      <p:pic>
        <p:nvPicPr>
          <p:cNvPr id="55" name="Graphic 54" descr="Teacher with solid fill">
            <a:extLst>
              <a:ext uri="{FF2B5EF4-FFF2-40B4-BE49-F238E27FC236}">
                <a16:creationId xmlns:a16="http://schemas.microsoft.com/office/drawing/2014/main" id="{CEB6A698-F51B-922C-B9CC-A1B76F4113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2276" y="3008077"/>
            <a:ext cx="600782" cy="600782"/>
          </a:xfrm>
          <a:prstGeom prst="rect">
            <a:avLst/>
          </a:prstGeom>
        </p:spPr>
      </p:pic>
      <p:pic>
        <p:nvPicPr>
          <p:cNvPr id="57" name="Graphic 56" descr="Newspaper with solid fill">
            <a:extLst>
              <a:ext uri="{FF2B5EF4-FFF2-40B4-BE49-F238E27FC236}">
                <a16:creationId xmlns:a16="http://schemas.microsoft.com/office/drawing/2014/main" id="{C652852F-B7A7-18F9-9386-72B8CBC390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1203" y="3493646"/>
            <a:ext cx="643997" cy="643997"/>
          </a:xfrm>
          <a:prstGeom prst="rect">
            <a:avLst/>
          </a:prstGeom>
        </p:spPr>
      </p:pic>
    </p:spTree>
    <p:extLst>
      <p:ext uri="{BB962C8B-B14F-4D97-AF65-F5344CB8AC3E}">
        <p14:creationId xmlns:p14="http://schemas.microsoft.com/office/powerpoint/2010/main" val="17860089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ECD1D-1DF0-3542-9BB3-EFBC31E8AEB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38200" y="0"/>
            <a:ext cx="4660557" cy="2348315"/>
          </a:xfrm>
          <a:prstGeom prst="rect">
            <a:avLst/>
          </a:prstGeom>
        </p:spPr>
      </p:pic>
      <p:sp>
        <p:nvSpPr>
          <p:cNvPr id="14" name="Rectangle 13">
            <a:extLst>
              <a:ext uri="{FF2B5EF4-FFF2-40B4-BE49-F238E27FC236}">
                <a16:creationId xmlns:a16="http://schemas.microsoft.com/office/drawing/2014/main" id="{3C7E0DF7-4D00-F149-8B12-F5B94EBDBEAA}"/>
              </a:ext>
            </a:extLst>
          </p:cNvPr>
          <p:cNvSpPr/>
          <p:nvPr/>
        </p:nvSpPr>
        <p:spPr>
          <a:xfrm>
            <a:off x="838200" y="1317761"/>
            <a:ext cx="4660557" cy="4694420"/>
          </a:xfrm>
          <a:prstGeom prst="rect">
            <a:avLst/>
          </a:prstGeom>
          <a:gradFill flip="none" rotWithShape="1">
            <a:gsLst>
              <a:gs pos="80000">
                <a:schemeClr val="accent4"/>
              </a:gs>
              <a:gs pos="100000">
                <a:schemeClr val="accent4">
                  <a:alpha val="0"/>
                </a:schemeClr>
              </a:gs>
            </a:gsLst>
            <a:lin ang="16200000" scaled="1"/>
            <a:tileRect/>
          </a:gra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44" name="Title 1">
            <a:extLst>
              <a:ext uri="{FF2B5EF4-FFF2-40B4-BE49-F238E27FC236}">
                <a16:creationId xmlns:a16="http://schemas.microsoft.com/office/drawing/2014/main" id="{6B6D2DEA-5D78-9647-AA69-B0F7FE5FC0DB}"/>
              </a:ext>
            </a:extLst>
          </p:cNvPr>
          <p:cNvSpPr txBox="1">
            <a:spLocks/>
          </p:cNvSpPr>
          <p:nvPr/>
        </p:nvSpPr>
        <p:spPr>
          <a:xfrm>
            <a:off x="1386042" y="2007256"/>
            <a:ext cx="3509808" cy="1566614"/>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400" b="1" i="0" u="none" strike="noStrike" kern="1200" cap="none" spc="-150" normalizeH="0" baseline="0" noProof="0" dirty="0">
                <a:ln>
                  <a:noFill/>
                </a:ln>
                <a:solidFill>
                  <a:srgbClr val="FFFFFF"/>
                </a:solidFill>
                <a:effectLst/>
                <a:uLnTx/>
                <a:uFillTx/>
                <a:latin typeface="Arial" charset="0"/>
                <a:cs typeface="Arial" charset="0"/>
              </a:rPr>
              <a:t>Background on the Recovery Audit Contractor</a:t>
            </a:r>
          </a:p>
        </p:txBody>
      </p:sp>
      <p:sp>
        <p:nvSpPr>
          <p:cNvPr id="45" name="Rectangle 44">
            <a:extLst>
              <a:ext uri="{FF2B5EF4-FFF2-40B4-BE49-F238E27FC236}">
                <a16:creationId xmlns:a16="http://schemas.microsoft.com/office/drawing/2014/main" id="{BFD994F1-4F41-7A43-9176-882522F9C157}"/>
              </a:ext>
            </a:extLst>
          </p:cNvPr>
          <p:cNvSpPr/>
          <p:nvPr/>
        </p:nvSpPr>
        <p:spPr>
          <a:xfrm>
            <a:off x="1386043" y="3827263"/>
            <a:ext cx="3663477" cy="369332"/>
          </a:xfrm>
          <a:prstGeom prst="rect">
            <a:avLst/>
          </a:prstGeom>
        </p:spPr>
        <p:txBody>
          <a:bodyPr wrap="square">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mn-ea"/>
                <a:cs typeface="+mn-cs"/>
              </a:rPr>
              <a:t> </a:t>
            </a:r>
          </a:p>
        </p:txBody>
      </p:sp>
      <p:sp>
        <p:nvSpPr>
          <p:cNvPr id="46" name="Rectangle 45">
            <a:extLst>
              <a:ext uri="{FF2B5EF4-FFF2-40B4-BE49-F238E27FC236}">
                <a16:creationId xmlns:a16="http://schemas.microsoft.com/office/drawing/2014/main" id="{1789984B-91BD-E04E-9BC5-111143B3491D}"/>
              </a:ext>
            </a:extLst>
          </p:cNvPr>
          <p:cNvSpPr/>
          <p:nvPr/>
        </p:nvSpPr>
        <p:spPr>
          <a:xfrm>
            <a:off x="1524001" y="6012180"/>
            <a:ext cx="426720" cy="83820"/>
          </a:xfrm>
          <a:prstGeom prst="rect">
            <a:avLst/>
          </a:prstGeom>
          <a:solidFill>
            <a:schemeClr val="accent1"/>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cxnSp>
        <p:nvCxnSpPr>
          <p:cNvPr id="47" name="Straight Connector 46">
            <a:extLst>
              <a:ext uri="{FF2B5EF4-FFF2-40B4-BE49-F238E27FC236}">
                <a16:creationId xmlns:a16="http://schemas.microsoft.com/office/drawing/2014/main" id="{AEBAF145-1A57-5D40-992B-7AB1012516E0}"/>
              </a:ext>
            </a:extLst>
          </p:cNvPr>
          <p:cNvCxnSpPr/>
          <p:nvPr/>
        </p:nvCxnSpPr>
        <p:spPr>
          <a:xfrm>
            <a:off x="1466851" y="3648382"/>
            <a:ext cx="342899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D5BCC4A-E2FD-7642-9E4C-A29B6DDB3662}"/>
              </a:ext>
            </a:extLst>
          </p:cNvPr>
          <p:cNvSpPr/>
          <p:nvPr/>
        </p:nvSpPr>
        <p:spPr>
          <a:xfrm>
            <a:off x="5678171" y="268452"/>
            <a:ext cx="6418753" cy="5539978"/>
          </a:xfrm>
          <a:prstGeom prst="rect">
            <a:avLst/>
          </a:prstGeom>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Medicare Modernization Act of 2003 created 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demonstration project to identify Medicar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Overpaym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	</a:t>
            </a: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Operational from 2005 through 2007</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Made permanent in 2008</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Section 6411(a) of the Affordable Care Ac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expanded RAC to Medicai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Identification of improper paym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Coordination of audit efforts with state audit effor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Education to provid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Colorado Revised Statutes (CR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CRS Section 25.5-4-301</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Code of Colorado Regulations (CC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10 CCR 2505-1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015.8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076.2-3</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130.2A</a:t>
            </a:r>
            <a:endParaRPr kumimoji="0" lang="en-US" sz="20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9" name="Slide Number Placeholder 4">
            <a:extLst>
              <a:ext uri="{FF2B5EF4-FFF2-40B4-BE49-F238E27FC236}">
                <a16:creationId xmlns:a16="http://schemas.microsoft.com/office/drawing/2014/main" id="{6D08F3ED-9873-664F-9735-0F7F3350E8BE}"/>
              </a:ext>
            </a:extLst>
          </p:cNvPr>
          <p:cNvSpPr>
            <a:spLocks noGrp="1"/>
          </p:cNvSpPr>
          <p:nvPr>
            <p:ph type="sldNum" sz="quarter" idx="10"/>
          </p:nvPr>
        </p:nvSpPr>
        <p:spPr>
          <a:xfrm>
            <a:off x="8610600" y="6356350"/>
            <a:ext cx="2743200" cy="365125"/>
          </a:xfrm>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31A8FAD-9F42-924A-88D5-2D6518C77771}" type="slidenum">
              <a:rPr kumimoji="0" lang="en-US" altLang="en-US" sz="700" b="0" i="0" u="none" strike="noStrike" kern="1200" cap="none" spc="0" normalizeH="0" baseline="0" noProof="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20" name="Footer Placeholder 5">
            <a:extLst>
              <a:ext uri="{FF2B5EF4-FFF2-40B4-BE49-F238E27FC236}">
                <a16:creationId xmlns:a16="http://schemas.microsoft.com/office/drawing/2014/main" id="{E91EE61A-D388-EB45-8CF2-C4947151B51D}"/>
              </a:ext>
            </a:extLst>
          </p:cNvPr>
          <p:cNvSpPr>
            <a:spLocks noGrp="1"/>
          </p:cNvSpPr>
          <p:nvPr>
            <p:ph type="ftr" sz="quarter" idx="11"/>
          </p:nvPr>
        </p:nvSpPr>
        <p:spPr>
          <a:xfrm>
            <a:off x="838200" y="6356350"/>
            <a:ext cx="41148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HMS a Gainwell Company </a:t>
            </a:r>
            <a:r>
              <a:rPr lang="en-US" dirty="0">
                <a:solidFill>
                  <a:srgbClr val="68767E"/>
                </a:solidFill>
                <a:latin typeface="Arial" panose="020B0604020202020204"/>
              </a:rPr>
              <a:t>C</a:t>
            </a:r>
            <a:r>
              <a:rPr kumimoji="0" lang="en-US" sz="800" b="0" i="0" u="none" strike="noStrike" kern="1200" cap="none" spc="0" normalizeH="0" baseline="0" noProof="0" dirty="0" err="1">
                <a:ln>
                  <a:noFill/>
                </a:ln>
                <a:solidFill>
                  <a:srgbClr val="68767E"/>
                </a:solidFill>
                <a:effectLst/>
                <a:uLnTx/>
                <a:uFillTx/>
                <a:latin typeface="Arial" panose="020B0604020202020204"/>
                <a:ea typeface="+mn-ea"/>
                <a:cs typeface="+mn-cs"/>
              </a:rPr>
              <a:t>onfidential</a:t>
            </a: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 Do not </a:t>
            </a:r>
            <a:r>
              <a:rPr kumimoji="0" lang="id-ID" sz="800" b="0" i="0" u="none" strike="noStrike" kern="1200" cap="none" spc="0" normalizeH="0" baseline="0" noProof="0" dirty="0">
                <a:ln>
                  <a:noFill/>
                </a:ln>
                <a:solidFill>
                  <a:srgbClr val="68767E"/>
                </a:solidFill>
                <a:effectLst/>
                <a:uLnTx/>
                <a:uFillTx/>
                <a:latin typeface="Arial" panose="020B0604020202020204"/>
                <a:ea typeface="+mn-ea"/>
                <a:cs typeface="+mn-cs"/>
              </a:rPr>
              <a:t>d</a:t>
            </a: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istribute.</a:t>
            </a:r>
          </a:p>
        </p:txBody>
      </p:sp>
      <p:cxnSp>
        <p:nvCxnSpPr>
          <p:cNvPr id="21" name="Straight Connector 20">
            <a:extLst>
              <a:ext uri="{FF2B5EF4-FFF2-40B4-BE49-F238E27FC236}">
                <a16:creationId xmlns:a16="http://schemas.microsoft.com/office/drawing/2014/main" id="{3DE4988E-4E0C-804E-A62A-5A3114CF6456}"/>
              </a:ext>
            </a:extLst>
          </p:cNvPr>
          <p:cNvCxnSpPr/>
          <p:nvPr/>
        </p:nvCxnSpPr>
        <p:spPr>
          <a:xfrm>
            <a:off x="911225" y="6360705"/>
            <a:ext cx="103695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552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Provider Relations</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3" name="Footer Placeholder 5">
            <a:extLst>
              <a:ext uri="{FF2B5EF4-FFF2-40B4-BE49-F238E27FC236}">
                <a16:creationId xmlns:a16="http://schemas.microsoft.com/office/drawing/2014/main" id="{A467444D-FA2E-DB33-5C9E-760C29787E4A}"/>
              </a:ext>
            </a:extLst>
          </p:cNvPr>
          <p:cNvSpPr txBox="1">
            <a:spLocks/>
          </p:cNvSpPr>
          <p:nvPr/>
        </p:nvSpPr>
        <p:spPr>
          <a:xfrm>
            <a:off x="838200" y="64928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33880089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A13A4C8-917C-42AF-859F-3EE216554E5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pic>
        <p:nvPicPr>
          <p:cNvPr id="9" name="Picture 8">
            <a:extLst>
              <a:ext uri="{FF2B5EF4-FFF2-40B4-BE49-F238E27FC236}">
                <a16:creationId xmlns:a16="http://schemas.microsoft.com/office/drawing/2014/main" id="{3DC9036E-E578-4A70-BA59-1709FF611285}"/>
              </a:ext>
            </a:extLst>
          </p:cNvPr>
          <p:cNvPicPr>
            <a:picLocks noChangeAspect="1"/>
          </p:cNvPicPr>
          <p:nvPr/>
        </p:nvPicPr>
        <p:blipFill rotWithShape="1">
          <a:blip r:embed="rId3"/>
          <a:srcRect l="28787" t="20086" r="16935" b="15088"/>
          <a:stretch/>
        </p:blipFill>
        <p:spPr>
          <a:xfrm>
            <a:off x="838200" y="0"/>
            <a:ext cx="4660557" cy="2348315"/>
          </a:xfrm>
          <a:prstGeom prst="rect">
            <a:avLst/>
          </a:prstGeom>
        </p:spPr>
      </p:pic>
      <p:sp>
        <p:nvSpPr>
          <p:cNvPr id="10" name="Rectangle 9">
            <a:extLst>
              <a:ext uri="{FF2B5EF4-FFF2-40B4-BE49-F238E27FC236}">
                <a16:creationId xmlns:a16="http://schemas.microsoft.com/office/drawing/2014/main" id="{6081A912-30AA-47A7-936E-1696A49522D6}"/>
              </a:ext>
            </a:extLst>
          </p:cNvPr>
          <p:cNvSpPr/>
          <p:nvPr/>
        </p:nvSpPr>
        <p:spPr>
          <a:xfrm>
            <a:off x="838200" y="1317760"/>
            <a:ext cx="4660557" cy="4751765"/>
          </a:xfrm>
          <a:prstGeom prst="rect">
            <a:avLst/>
          </a:prstGeom>
          <a:gradFill flip="none" rotWithShape="1">
            <a:gsLst>
              <a:gs pos="80000">
                <a:schemeClr val="accent4"/>
              </a:gs>
              <a:gs pos="100000">
                <a:schemeClr val="accent4">
                  <a:alpha val="0"/>
                </a:schemeClr>
              </a:gs>
            </a:gsLst>
            <a:lin ang="16200000" scaled="1"/>
            <a:tileRect/>
          </a:gra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11" name="Title 1">
            <a:extLst>
              <a:ext uri="{FF2B5EF4-FFF2-40B4-BE49-F238E27FC236}">
                <a16:creationId xmlns:a16="http://schemas.microsoft.com/office/drawing/2014/main" id="{47A74D82-B8FE-474D-BF15-ECE34BFBE2AF}"/>
              </a:ext>
            </a:extLst>
          </p:cNvPr>
          <p:cNvSpPr txBox="1">
            <a:spLocks/>
          </p:cNvSpPr>
          <p:nvPr/>
        </p:nvSpPr>
        <p:spPr>
          <a:xfrm>
            <a:off x="1270686" y="3446871"/>
            <a:ext cx="3795584" cy="2348315"/>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150" normalizeH="0" baseline="0" noProof="0" dirty="0">
                <a:ln>
                  <a:noFill/>
                </a:ln>
                <a:solidFill>
                  <a:srgbClr val="FFFFFF"/>
                </a:solidFill>
                <a:effectLst/>
                <a:uLnTx/>
                <a:uFillTx/>
                <a:latin typeface="Arial" charset="0"/>
                <a:cs typeface="Arial" charset="0"/>
              </a:rPr>
              <a:t>Open Communication</a:t>
            </a:r>
          </a:p>
        </p:txBody>
      </p:sp>
      <p:sp>
        <p:nvSpPr>
          <p:cNvPr id="20" name="Rectangle 19">
            <a:extLst>
              <a:ext uri="{FF2B5EF4-FFF2-40B4-BE49-F238E27FC236}">
                <a16:creationId xmlns:a16="http://schemas.microsoft.com/office/drawing/2014/main" id="{AD2F5624-6128-4528-BE18-8585F20FC4F6}"/>
              </a:ext>
            </a:extLst>
          </p:cNvPr>
          <p:cNvSpPr/>
          <p:nvPr/>
        </p:nvSpPr>
        <p:spPr>
          <a:xfrm>
            <a:off x="6096000" y="2337911"/>
            <a:ext cx="5372100" cy="360098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HMS encourages providers to contact us with their concerns and questions</a:t>
            </a: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We view our one-to-one discussions as ideal opportunities to provide education, answer any questions and alleviate concerns</a:t>
            </a: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Our Provider Relations team stands ready to guide you throughout the entire process </a:t>
            </a:r>
          </a:p>
        </p:txBody>
      </p:sp>
      <p:grpSp>
        <p:nvGrpSpPr>
          <p:cNvPr id="21" name="Group 20">
            <a:extLst>
              <a:ext uri="{FF2B5EF4-FFF2-40B4-BE49-F238E27FC236}">
                <a16:creationId xmlns:a16="http://schemas.microsoft.com/office/drawing/2014/main" id="{5D863650-CEE5-45BB-BC5D-8EAB2C2F0514}"/>
              </a:ext>
            </a:extLst>
          </p:cNvPr>
          <p:cNvGrpSpPr/>
          <p:nvPr/>
        </p:nvGrpSpPr>
        <p:grpSpPr>
          <a:xfrm>
            <a:off x="6216165" y="2154461"/>
            <a:ext cx="461352" cy="78276"/>
            <a:chOff x="2867729" y="3759200"/>
            <a:chExt cx="461352" cy="78276"/>
          </a:xfrm>
        </p:grpSpPr>
        <p:sp>
          <p:nvSpPr>
            <p:cNvPr id="22" name="Oval 21">
              <a:extLst>
                <a:ext uri="{FF2B5EF4-FFF2-40B4-BE49-F238E27FC236}">
                  <a16:creationId xmlns:a16="http://schemas.microsoft.com/office/drawing/2014/main" id="{EE821AE5-1019-4802-A57F-B3BFB570E84F}"/>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3" name="Oval 22">
              <a:extLst>
                <a:ext uri="{FF2B5EF4-FFF2-40B4-BE49-F238E27FC236}">
                  <a16:creationId xmlns:a16="http://schemas.microsoft.com/office/drawing/2014/main" id="{EE572EAD-FEE5-4B4F-9649-0A053F11AEAF}"/>
                </a:ext>
              </a:extLst>
            </p:cNvPr>
            <p:cNvSpPr/>
            <p:nvPr/>
          </p:nvSpPr>
          <p:spPr>
            <a:xfrm>
              <a:off x="3059267"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534556E9-3515-4FBF-97BF-643E61FEF7E5}"/>
                </a:ext>
              </a:extLst>
            </p:cNvPr>
            <p:cNvSpPr/>
            <p:nvPr/>
          </p:nvSpPr>
          <p:spPr>
            <a:xfrm>
              <a:off x="3250805"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5" name="Group 24">
            <a:extLst>
              <a:ext uri="{FF2B5EF4-FFF2-40B4-BE49-F238E27FC236}">
                <a16:creationId xmlns:a16="http://schemas.microsoft.com/office/drawing/2014/main" id="{FAEFCCBA-D5AE-4D79-AB10-9F6E581A1BEF}"/>
              </a:ext>
            </a:extLst>
          </p:cNvPr>
          <p:cNvGrpSpPr/>
          <p:nvPr/>
        </p:nvGrpSpPr>
        <p:grpSpPr>
          <a:xfrm>
            <a:off x="6216165" y="3477870"/>
            <a:ext cx="461352" cy="78276"/>
            <a:chOff x="2867729" y="3759200"/>
            <a:chExt cx="461352" cy="78276"/>
          </a:xfrm>
        </p:grpSpPr>
        <p:sp>
          <p:nvSpPr>
            <p:cNvPr id="26" name="Oval 25">
              <a:extLst>
                <a:ext uri="{FF2B5EF4-FFF2-40B4-BE49-F238E27FC236}">
                  <a16:creationId xmlns:a16="http://schemas.microsoft.com/office/drawing/2014/main" id="{BF9B072E-B431-4CB3-B1D0-C1DF6BCD8F48}"/>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7" name="Oval 26">
              <a:extLst>
                <a:ext uri="{FF2B5EF4-FFF2-40B4-BE49-F238E27FC236}">
                  <a16:creationId xmlns:a16="http://schemas.microsoft.com/office/drawing/2014/main" id="{BA56730F-8172-4CA8-BF45-427A3A437499}"/>
                </a:ext>
              </a:extLst>
            </p:cNvPr>
            <p:cNvSpPr/>
            <p:nvPr/>
          </p:nvSpPr>
          <p:spPr>
            <a:xfrm>
              <a:off x="3059267"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03F5159D-D2B0-49B3-A823-574310C43034}"/>
                </a:ext>
              </a:extLst>
            </p:cNvPr>
            <p:cNvSpPr/>
            <p:nvPr/>
          </p:nvSpPr>
          <p:spPr>
            <a:xfrm>
              <a:off x="3250805"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9" name="Group 28">
            <a:extLst>
              <a:ext uri="{FF2B5EF4-FFF2-40B4-BE49-F238E27FC236}">
                <a16:creationId xmlns:a16="http://schemas.microsoft.com/office/drawing/2014/main" id="{4D5928B4-C006-4DBC-B803-7AEB880274E9}"/>
              </a:ext>
            </a:extLst>
          </p:cNvPr>
          <p:cNvGrpSpPr/>
          <p:nvPr/>
        </p:nvGrpSpPr>
        <p:grpSpPr>
          <a:xfrm>
            <a:off x="6216165" y="5122310"/>
            <a:ext cx="461352" cy="78276"/>
            <a:chOff x="2867729" y="3759200"/>
            <a:chExt cx="461352" cy="78276"/>
          </a:xfrm>
        </p:grpSpPr>
        <p:sp>
          <p:nvSpPr>
            <p:cNvPr id="30" name="Oval 29">
              <a:extLst>
                <a:ext uri="{FF2B5EF4-FFF2-40B4-BE49-F238E27FC236}">
                  <a16:creationId xmlns:a16="http://schemas.microsoft.com/office/drawing/2014/main" id="{97409F6F-BC15-4CA8-85AD-FD5D0D57334D}"/>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1" name="Oval 30">
              <a:extLst>
                <a:ext uri="{FF2B5EF4-FFF2-40B4-BE49-F238E27FC236}">
                  <a16:creationId xmlns:a16="http://schemas.microsoft.com/office/drawing/2014/main" id="{72DB6B8D-2A5C-46D4-B8C4-5BABD51557C8}"/>
                </a:ext>
              </a:extLst>
            </p:cNvPr>
            <p:cNvSpPr/>
            <p:nvPr/>
          </p:nvSpPr>
          <p:spPr>
            <a:xfrm>
              <a:off x="3059267"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2" name="Oval 31">
              <a:extLst>
                <a:ext uri="{FF2B5EF4-FFF2-40B4-BE49-F238E27FC236}">
                  <a16:creationId xmlns:a16="http://schemas.microsoft.com/office/drawing/2014/main" id="{DF01CEC9-F986-4F8F-975B-AB5859D2063E}"/>
                </a:ext>
              </a:extLst>
            </p:cNvPr>
            <p:cNvSpPr/>
            <p:nvPr/>
          </p:nvSpPr>
          <p:spPr>
            <a:xfrm>
              <a:off x="3250805"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35" name="Group 34">
            <a:extLst>
              <a:ext uri="{FF2B5EF4-FFF2-40B4-BE49-F238E27FC236}">
                <a16:creationId xmlns:a16="http://schemas.microsoft.com/office/drawing/2014/main" id="{D6869EBE-BEB6-4801-B9D0-791970A9DEE5}"/>
              </a:ext>
            </a:extLst>
          </p:cNvPr>
          <p:cNvGrpSpPr/>
          <p:nvPr/>
        </p:nvGrpSpPr>
        <p:grpSpPr>
          <a:xfrm>
            <a:off x="1344241" y="2938453"/>
            <a:ext cx="1045255" cy="853627"/>
            <a:chOff x="4891088" y="833438"/>
            <a:chExt cx="285750" cy="233363"/>
          </a:xfrm>
          <a:solidFill>
            <a:schemeClr val="bg1"/>
          </a:solidFill>
        </p:grpSpPr>
        <p:sp>
          <p:nvSpPr>
            <p:cNvPr id="36" name="Freeform 10">
              <a:extLst>
                <a:ext uri="{FF2B5EF4-FFF2-40B4-BE49-F238E27FC236}">
                  <a16:creationId xmlns:a16="http://schemas.microsoft.com/office/drawing/2014/main" id="{51EBBB50-C688-4390-93EB-5BA5C0DA74D0}"/>
                </a:ext>
              </a:extLst>
            </p:cNvPr>
            <p:cNvSpPr>
              <a:spLocks noEditPoints="1"/>
            </p:cNvSpPr>
            <p:nvPr/>
          </p:nvSpPr>
          <p:spPr bwMode="auto">
            <a:xfrm>
              <a:off x="4891088" y="833438"/>
              <a:ext cx="285750" cy="233363"/>
            </a:xfrm>
            <a:custGeom>
              <a:avLst/>
              <a:gdLst>
                <a:gd name="T0" fmla="*/ 50 w 901"/>
                <a:gd name="T1" fmla="*/ 30 h 735"/>
                <a:gd name="T2" fmla="*/ 44 w 901"/>
                <a:gd name="T3" fmla="*/ 31 h 735"/>
                <a:gd name="T4" fmla="*/ 36 w 901"/>
                <a:gd name="T5" fmla="*/ 38 h 735"/>
                <a:gd name="T6" fmla="*/ 31 w 901"/>
                <a:gd name="T7" fmla="*/ 50 h 735"/>
                <a:gd name="T8" fmla="*/ 30 w 901"/>
                <a:gd name="T9" fmla="*/ 548 h 735"/>
                <a:gd name="T10" fmla="*/ 32 w 901"/>
                <a:gd name="T11" fmla="*/ 557 h 735"/>
                <a:gd name="T12" fmla="*/ 38 w 901"/>
                <a:gd name="T13" fmla="*/ 564 h 735"/>
                <a:gd name="T14" fmla="*/ 44 w 901"/>
                <a:gd name="T15" fmla="*/ 569 h 735"/>
                <a:gd name="T16" fmla="*/ 54 w 901"/>
                <a:gd name="T17" fmla="*/ 571 h 735"/>
                <a:gd name="T18" fmla="*/ 108 w 901"/>
                <a:gd name="T19" fmla="*/ 571 h 735"/>
                <a:gd name="T20" fmla="*/ 114 w 901"/>
                <a:gd name="T21" fmla="*/ 573 h 735"/>
                <a:gd name="T22" fmla="*/ 118 w 901"/>
                <a:gd name="T23" fmla="*/ 577 h 735"/>
                <a:gd name="T24" fmla="*/ 120 w 901"/>
                <a:gd name="T25" fmla="*/ 582 h 735"/>
                <a:gd name="T26" fmla="*/ 120 w 901"/>
                <a:gd name="T27" fmla="*/ 691 h 735"/>
                <a:gd name="T28" fmla="*/ 275 w 901"/>
                <a:gd name="T29" fmla="*/ 572 h 735"/>
                <a:gd name="T30" fmla="*/ 849 w 901"/>
                <a:gd name="T31" fmla="*/ 571 h 735"/>
                <a:gd name="T32" fmla="*/ 857 w 901"/>
                <a:gd name="T33" fmla="*/ 569 h 735"/>
                <a:gd name="T34" fmla="*/ 865 w 901"/>
                <a:gd name="T35" fmla="*/ 564 h 735"/>
                <a:gd name="T36" fmla="*/ 870 w 901"/>
                <a:gd name="T37" fmla="*/ 557 h 735"/>
                <a:gd name="T38" fmla="*/ 871 w 901"/>
                <a:gd name="T39" fmla="*/ 548 h 735"/>
                <a:gd name="T40" fmla="*/ 871 w 901"/>
                <a:gd name="T41" fmla="*/ 50 h 735"/>
                <a:gd name="T42" fmla="*/ 866 w 901"/>
                <a:gd name="T43" fmla="*/ 37 h 735"/>
                <a:gd name="T44" fmla="*/ 858 w 901"/>
                <a:gd name="T45" fmla="*/ 31 h 735"/>
                <a:gd name="T46" fmla="*/ 851 w 901"/>
                <a:gd name="T47" fmla="*/ 30 h 735"/>
                <a:gd name="T48" fmla="*/ 54 w 901"/>
                <a:gd name="T49" fmla="*/ 30 h 735"/>
                <a:gd name="T50" fmla="*/ 102 w 901"/>
                <a:gd name="T51" fmla="*/ 735 h 735"/>
                <a:gd name="T52" fmla="*/ 95 w 901"/>
                <a:gd name="T53" fmla="*/ 732 h 735"/>
                <a:gd name="T54" fmla="*/ 91 w 901"/>
                <a:gd name="T55" fmla="*/ 725 h 735"/>
                <a:gd name="T56" fmla="*/ 90 w 901"/>
                <a:gd name="T57" fmla="*/ 601 h 735"/>
                <a:gd name="T58" fmla="*/ 43 w 901"/>
                <a:gd name="T59" fmla="*/ 600 h 735"/>
                <a:gd name="T60" fmla="*/ 24 w 901"/>
                <a:gd name="T61" fmla="*/ 591 h 735"/>
                <a:gd name="T62" fmla="*/ 10 w 901"/>
                <a:gd name="T63" fmla="*/ 577 h 735"/>
                <a:gd name="T64" fmla="*/ 1 w 901"/>
                <a:gd name="T65" fmla="*/ 559 h 735"/>
                <a:gd name="T66" fmla="*/ 0 w 901"/>
                <a:gd name="T67" fmla="*/ 60 h 735"/>
                <a:gd name="T68" fmla="*/ 4 w 901"/>
                <a:gd name="T69" fmla="*/ 35 h 735"/>
                <a:gd name="T70" fmla="*/ 9 w 901"/>
                <a:gd name="T71" fmla="*/ 25 h 735"/>
                <a:gd name="T72" fmla="*/ 14 w 901"/>
                <a:gd name="T73" fmla="*/ 16 h 735"/>
                <a:gd name="T74" fmla="*/ 23 w 901"/>
                <a:gd name="T75" fmla="*/ 9 h 735"/>
                <a:gd name="T76" fmla="*/ 31 w 901"/>
                <a:gd name="T77" fmla="*/ 5 h 735"/>
                <a:gd name="T78" fmla="*/ 42 w 901"/>
                <a:gd name="T79" fmla="*/ 1 h 735"/>
                <a:gd name="T80" fmla="*/ 54 w 901"/>
                <a:gd name="T81" fmla="*/ 0 h 735"/>
                <a:gd name="T82" fmla="*/ 854 w 901"/>
                <a:gd name="T83" fmla="*/ 0 h 735"/>
                <a:gd name="T84" fmla="*/ 866 w 901"/>
                <a:gd name="T85" fmla="*/ 2 h 735"/>
                <a:gd name="T86" fmla="*/ 875 w 901"/>
                <a:gd name="T87" fmla="*/ 7 h 735"/>
                <a:gd name="T88" fmla="*/ 884 w 901"/>
                <a:gd name="T89" fmla="*/ 12 h 735"/>
                <a:gd name="T90" fmla="*/ 890 w 901"/>
                <a:gd name="T91" fmla="*/ 21 h 735"/>
                <a:gd name="T92" fmla="*/ 896 w 901"/>
                <a:gd name="T93" fmla="*/ 29 h 735"/>
                <a:gd name="T94" fmla="*/ 900 w 901"/>
                <a:gd name="T95" fmla="*/ 46 h 735"/>
                <a:gd name="T96" fmla="*/ 901 w 901"/>
                <a:gd name="T97" fmla="*/ 548 h 735"/>
                <a:gd name="T98" fmla="*/ 897 w 901"/>
                <a:gd name="T99" fmla="*/ 569 h 735"/>
                <a:gd name="T100" fmla="*/ 886 w 901"/>
                <a:gd name="T101" fmla="*/ 585 h 735"/>
                <a:gd name="T102" fmla="*/ 869 w 901"/>
                <a:gd name="T103" fmla="*/ 596 h 735"/>
                <a:gd name="T104" fmla="*/ 849 w 901"/>
                <a:gd name="T105" fmla="*/ 601 h 735"/>
                <a:gd name="T106" fmla="*/ 115 w 901"/>
                <a:gd name="T107" fmla="*/ 732 h 735"/>
                <a:gd name="T108" fmla="*/ 105 w 901"/>
                <a:gd name="T109"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 h="735">
                  <a:moveTo>
                    <a:pt x="54" y="30"/>
                  </a:moveTo>
                  <a:lnTo>
                    <a:pt x="50" y="30"/>
                  </a:lnTo>
                  <a:lnTo>
                    <a:pt x="47" y="30"/>
                  </a:lnTo>
                  <a:lnTo>
                    <a:pt x="44" y="31"/>
                  </a:lnTo>
                  <a:lnTo>
                    <a:pt x="40" y="33"/>
                  </a:lnTo>
                  <a:lnTo>
                    <a:pt x="36" y="38"/>
                  </a:lnTo>
                  <a:lnTo>
                    <a:pt x="33" y="43"/>
                  </a:lnTo>
                  <a:lnTo>
                    <a:pt x="31" y="50"/>
                  </a:lnTo>
                  <a:lnTo>
                    <a:pt x="30" y="60"/>
                  </a:lnTo>
                  <a:lnTo>
                    <a:pt x="30" y="548"/>
                  </a:lnTo>
                  <a:lnTo>
                    <a:pt x="31" y="552"/>
                  </a:lnTo>
                  <a:lnTo>
                    <a:pt x="32" y="557"/>
                  </a:lnTo>
                  <a:lnTo>
                    <a:pt x="34" y="561"/>
                  </a:lnTo>
                  <a:lnTo>
                    <a:pt x="38" y="564"/>
                  </a:lnTo>
                  <a:lnTo>
                    <a:pt x="41" y="566"/>
                  </a:lnTo>
                  <a:lnTo>
                    <a:pt x="44" y="569"/>
                  </a:lnTo>
                  <a:lnTo>
                    <a:pt x="48" y="570"/>
                  </a:lnTo>
                  <a:lnTo>
                    <a:pt x="54" y="571"/>
                  </a:lnTo>
                  <a:lnTo>
                    <a:pt x="105" y="571"/>
                  </a:lnTo>
                  <a:lnTo>
                    <a:pt x="108" y="571"/>
                  </a:lnTo>
                  <a:lnTo>
                    <a:pt x="111" y="572"/>
                  </a:lnTo>
                  <a:lnTo>
                    <a:pt x="114" y="573"/>
                  </a:lnTo>
                  <a:lnTo>
                    <a:pt x="116" y="575"/>
                  </a:lnTo>
                  <a:lnTo>
                    <a:pt x="118" y="577"/>
                  </a:lnTo>
                  <a:lnTo>
                    <a:pt x="119" y="579"/>
                  </a:lnTo>
                  <a:lnTo>
                    <a:pt x="120" y="582"/>
                  </a:lnTo>
                  <a:lnTo>
                    <a:pt x="120" y="586"/>
                  </a:lnTo>
                  <a:lnTo>
                    <a:pt x="120" y="691"/>
                  </a:lnTo>
                  <a:lnTo>
                    <a:pt x="271" y="574"/>
                  </a:lnTo>
                  <a:lnTo>
                    <a:pt x="275" y="572"/>
                  </a:lnTo>
                  <a:lnTo>
                    <a:pt x="280" y="571"/>
                  </a:lnTo>
                  <a:lnTo>
                    <a:pt x="849" y="571"/>
                  </a:lnTo>
                  <a:lnTo>
                    <a:pt x="853" y="570"/>
                  </a:lnTo>
                  <a:lnTo>
                    <a:pt x="857" y="569"/>
                  </a:lnTo>
                  <a:lnTo>
                    <a:pt x="861" y="566"/>
                  </a:lnTo>
                  <a:lnTo>
                    <a:pt x="865" y="564"/>
                  </a:lnTo>
                  <a:lnTo>
                    <a:pt x="868" y="561"/>
                  </a:lnTo>
                  <a:lnTo>
                    <a:pt x="870" y="557"/>
                  </a:lnTo>
                  <a:lnTo>
                    <a:pt x="871" y="552"/>
                  </a:lnTo>
                  <a:lnTo>
                    <a:pt x="871" y="548"/>
                  </a:lnTo>
                  <a:lnTo>
                    <a:pt x="871" y="60"/>
                  </a:lnTo>
                  <a:lnTo>
                    <a:pt x="871" y="50"/>
                  </a:lnTo>
                  <a:lnTo>
                    <a:pt x="869" y="42"/>
                  </a:lnTo>
                  <a:lnTo>
                    <a:pt x="866" y="37"/>
                  </a:lnTo>
                  <a:lnTo>
                    <a:pt x="861" y="33"/>
                  </a:lnTo>
                  <a:lnTo>
                    <a:pt x="858" y="31"/>
                  </a:lnTo>
                  <a:lnTo>
                    <a:pt x="854" y="30"/>
                  </a:lnTo>
                  <a:lnTo>
                    <a:pt x="851" y="30"/>
                  </a:lnTo>
                  <a:lnTo>
                    <a:pt x="849" y="30"/>
                  </a:lnTo>
                  <a:lnTo>
                    <a:pt x="54" y="30"/>
                  </a:lnTo>
                  <a:close/>
                  <a:moveTo>
                    <a:pt x="105" y="735"/>
                  </a:moveTo>
                  <a:lnTo>
                    <a:pt x="102" y="735"/>
                  </a:lnTo>
                  <a:lnTo>
                    <a:pt x="99" y="734"/>
                  </a:lnTo>
                  <a:lnTo>
                    <a:pt x="95" y="732"/>
                  </a:lnTo>
                  <a:lnTo>
                    <a:pt x="93" y="729"/>
                  </a:lnTo>
                  <a:lnTo>
                    <a:pt x="91" y="725"/>
                  </a:lnTo>
                  <a:lnTo>
                    <a:pt x="90" y="721"/>
                  </a:lnTo>
                  <a:lnTo>
                    <a:pt x="90" y="601"/>
                  </a:lnTo>
                  <a:lnTo>
                    <a:pt x="54" y="601"/>
                  </a:lnTo>
                  <a:lnTo>
                    <a:pt x="43" y="600"/>
                  </a:lnTo>
                  <a:lnTo>
                    <a:pt x="32" y="596"/>
                  </a:lnTo>
                  <a:lnTo>
                    <a:pt x="24" y="591"/>
                  </a:lnTo>
                  <a:lnTo>
                    <a:pt x="16" y="585"/>
                  </a:lnTo>
                  <a:lnTo>
                    <a:pt x="10" y="577"/>
                  </a:lnTo>
                  <a:lnTo>
                    <a:pt x="4" y="569"/>
                  </a:lnTo>
                  <a:lnTo>
                    <a:pt x="1" y="559"/>
                  </a:lnTo>
                  <a:lnTo>
                    <a:pt x="0" y="548"/>
                  </a:lnTo>
                  <a:lnTo>
                    <a:pt x="0" y="60"/>
                  </a:lnTo>
                  <a:lnTo>
                    <a:pt x="1" y="46"/>
                  </a:lnTo>
                  <a:lnTo>
                    <a:pt x="4" y="35"/>
                  </a:lnTo>
                  <a:lnTo>
                    <a:pt x="7" y="29"/>
                  </a:lnTo>
                  <a:lnTo>
                    <a:pt x="9" y="25"/>
                  </a:lnTo>
                  <a:lnTo>
                    <a:pt x="11" y="21"/>
                  </a:lnTo>
                  <a:lnTo>
                    <a:pt x="14" y="16"/>
                  </a:lnTo>
                  <a:lnTo>
                    <a:pt x="18" y="12"/>
                  </a:lnTo>
                  <a:lnTo>
                    <a:pt x="23" y="9"/>
                  </a:lnTo>
                  <a:lnTo>
                    <a:pt x="27" y="7"/>
                  </a:lnTo>
                  <a:lnTo>
                    <a:pt x="31" y="5"/>
                  </a:lnTo>
                  <a:lnTo>
                    <a:pt x="36" y="2"/>
                  </a:lnTo>
                  <a:lnTo>
                    <a:pt x="42" y="1"/>
                  </a:lnTo>
                  <a:lnTo>
                    <a:pt x="47" y="0"/>
                  </a:lnTo>
                  <a:lnTo>
                    <a:pt x="54" y="0"/>
                  </a:lnTo>
                  <a:lnTo>
                    <a:pt x="849" y="0"/>
                  </a:lnTo>
                  <a:lnTo>
                    <a:pt x="854" y="0"/>
                  </a:lnTo>
                  <a:lnTo>
                    <a:pt x="860" y="1"/>
                  </a:lnTo>
                  <a:lnTo>
                    <a:pt x="866" y="2"/>
                  </a:lnTo>
                  <a:lnTo>
                    <a:pt x="870" y="4"/>
                  </a:lnTo>
                  <a:lnTo>
                    <a:pt x="875" y="7"/>
                  </a:lnTo>
                  <a:lnTo>
                    <a:pt x="880" y="9"/>
                  </a:lnTo>
                  <a:lnTo>
                    <a:pt x="884" y="12"/>
                  </a:lnTo>
                  <a:lnTo>
                    <a:pt x="887" y="16"/>
                  </a:lnTo>
                  <a:lnTo>
                    <a:pt x="890" y="21"/>
                  </a:lnTo>
                  <a:lnTo>
                    <a:pt x="894" y="25"/>
                  </a:lnTo>
                  <a:lnTo>
                    <a:pt x="896" y="29"/>
                  </a:lnTo>
                  <a:lnTo>
                    <a:pt x="898" y="35"/>
                  </a:lnTo>
                  <a:lnTo>
                    <a:pt x="900" y="46"/>
                  </a:lnTo>
                  <a:lnTo>
                    <a:pt x="901" y="60"/>
                  </a:lnTo>
                  <a:lnTo>
                    <a:pt x="901" y="548"/>
                  </a:lnTo>
                  <a:lnTo>
                    <a:pt x="900" y="558"/>
                  </a:lnTo>
                  <a:lnTo>
                    <a:pt x="897" y="569"/>
                  </a:lnTo>
                  <a:lnTo>
                    <a:pt x="892" y="577"/>
                  </a:lnTo>
                  <a:lnTo>
                    <a:pt x="886" y="585"/>
                  </a:lnTo>
                  <a:lnTo>
                    <a:pt x="878" y="592"/>
                  </a:lnTo>
                  <a:lnTo>
                    <a:pt x="869" y="596"/>
                  </a:lnTo>
                  <a:lnTo>
                    <a:pt x="859" y="600"/>
                  </a:lnTo>
                  <a:lnTo>
                    <a:pt x="849" y="601"/>
                  </a:lnTo>
                  <a:lnTo>
                    <a:pt x="286" y="601"/>
                  </a:lnTo>
                  <a:lnTo>
                    <a:pt x="115" y="732"/>
                  </a:lnTo>
                  <a:lnTo>
                    <a:pt x="110" y="735"/>
                  </a:lnTo>
                  <a:lnTo>
                    <a:pt x="105" y="735"/>
                  </a:lnTo>
                  <a:lnTo>
                    <a:pt x="105" y="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7" name="Freeform 11">
              <a:extLst>
                <a:ext uri="{FF2B5EF4-FFF2-40B4-BE49-F238E27FC236}">
                  <a16:creationId xmlns:a16="http://schemas.microsoft.com/office/drawing/2014/main" id="{AFF64BB2-72A9-42A2-84C2-C4F5C6060CC3}"/>
                </a:ext>
              </a:extLst>
            </p:cNvPr>
            <p:cNvSpPr>
              <a:spLocks noEditPoints="1"/>
            </p:cNvSpPr>
            <p:nvPr/>
          </p:nvSpPr>
          <p:spPr bwMode="auto">
            <a:xfrm>
              <a:off x="4981575" y="914401"/>
              <a:ext cx="22225" cy="20638"/>
            </a:xfrm>
            <a:custGeom>
              <a:avLst/>
              <a:gdLst>
                <a:gd name="T0" fmla="*/ 33 w 67"/>
                <a:gd name="T1" fmla="*/ 30 h 67"/>
                <a:gd name="T2" fmla="*/ 32 w 67"/>
                <a:gd name="T3" fmla="*/ 30 h 67"/>
                <a:gd name="T4" fmla="*/ 31 w 67"/>
                <a:gd name="T5" fmla="*/ 31 h 67"/>
                <a:gd name="T6" fmla="*/ 30 w 67"/>
                <a:gd name="T7" fmla="*/ 32 h 67"/>
                <a:gd name="T8" fmla="*/ 30 w 67"/>
                <a:gd name="T9" fmla="*/ 33 h 67"/>
                <a:gd name="T10" fmla="*/ 30 w 67"/>
                <a:gd name="T11" fmla="*/ 35 h 67"/>
                <a:gd name="T12" fmla="*/ 31 w 67"/>
                <a:gd name="T13" fmla="*/ 36 h 67"/>
                <a:gd name="T14" fmla="*/ 32 w 67"/>
                <a:gd name="T15" fmla="*/ 36 h 67"/>
                <a:gd name="T16" fmla="*/ 33 w 67"/>
                <a:gd name="T17" fmla="*/ 36 h 67"/>
                <a:gd name="T18" fmla="*/ 35 w 67"/>
                <a:gd name="T19" fmla="*/ 36 h 67"/>
                <a:gd name="T20" fmla="*/ 36 w 67"/>
                <a:gd name="T21" fmla="*/ 36 h 67"/>
                <a:gd name="T22" fmla="*/ 37 w 67"/>
                <a:gd name="T23" fmla="*/ 35 h 67"/>
                <a:gd name="T24" fmla="*/ 37 w 67"/>
                <a:gd name="T25" fmla="*/ 33 h 67"/>
                <a:gd name="T26" fmla="*/ 37 w 67"/>
                <a:gd name="T27" fmla="*/ 32 h 67"/>
                <a:gd name="T28" fmla="*/ 36 w 67"/>
                <a:gd name="T29" fmla="*/ 31 h 67"/>
                <a:gd name="T30" fmla="*/ 35 w 67"/>
                <a:gd name="T31" fmla="*/ 30 h 67"/>
                <a:gd name="T32" fmla="*/ 33 w 67"/>
                <a:gd name="T33" fmla="*/ 30 h 67"/>
                <a:gd name="T34" fmla="*/ 33 w 67"/>
                <a:gd name="T35" fmla="*/ 30 h 67"/>
                <a:gd name="T36" fmla="*/ 33 w 67"/>
                <a:gd name="T37" fmla="*/ 67 h 67"/>
                <a:gd name="T38" fmla="*/ 26 w 67"/>
                <a:gd name="T39" fmla="*/ 66 h 67"/>
                <a:gd name="T40" fmla="*/ 20 w 67"/>
                <a:gd name="T41" fmla="*/ 64 h 67"/>
                <a:gd name="T42" fmla="*/ 15 w 67"/>
                <a:gd name="T43" fmla="*/ 62 h 67"/>
                <a:gd name="T44" fmla="*/ 9 w 67"/>
                <a:gd name="T45" fmla="*/ 58 h 67"/>
                <a:gd name="T46" fmla="*/ 5 w 67"/>
                <a:gd name="T47" fmla="*/ 52 h 67"/>
                <a:gd name="T48" fmla="*/ 2 w 67"/>
                <a:gd name="T49" fmla="*/ 47 h 67"/>
                <a:gd name="T50" fmla="*/ 0 w 67"/>
                <a:gd name="T51" fmla="*/ 40 h 67"/>
                <a:gd name="T52" fmla="*/ 0 w 67"/>
                <a:gd name="T53" fmla="*/ 33 h 67"/>
                <a:gd name="T54" fmla="*/ 0 w 67"/>
                <a:gd name="T55" fmla="*/ 27 h 67"/>
                <a:gd name="T56" fmla="*/ 2 w 67"/>
                <a:gd name="T57" fmla="*/ 20 h 67"/>
                <a:gd name="T58" fmla="*/ 5 w 67"/>
                <a:gd name="T59" fmla="*/ 15 h 67"/>
                <a:gd name="T60" fmla="*/ 9 w 67"/>
                <a:gd name="T61" fmla="*/ 9 h 67"/>
                <a:gd name="T62" fmla="*/ 15 w 67"/>
                <a:gd name="T63" fmla="*/ 5 h 67"/>
                <a:gd name="T64" fmla="*/ 20 w 67"/>
                <a:gd name="T65" fmla="*/ 2 h 67"/>
                <a:gd name="T66" fmla="*/ 26 w 67"/>
                <a:gd name="T67" fmla="*/ 0 h 67"/>
                <a:gd name="T68" fmla="*/ 33 w 67"/>
                <a:gd name="T69" fmla="*/ 0 h 67"/>
                <a:gd name="T70" fmla="*/ 40 w 67"/>
                <a:gd name="T71" fmla="*/ 0 h 67"/>
                <a:gd name="T72" fmla="*/ 47 w 67"/>
                <a:gd name="T73" fmla="*/ 2 h 67"/>
                <a:gd name="T74" fmla="*/ 52 w 67"/>
                <a:gd name="T75" fmla="*/ 5 h 67"/>
                <a:gd name="T76" fmla="*/ 58 w 67"/>
                <a:gd name="T77" fmla="*/ 9 h 67"/>
                <a:gd name="T78" fmla="*/ 62 w 67"/>
                <a:gd name="T79" fmla="*/ 15 h 67"/>
                <a:gd name="T80" fmla="*/ 65 w 67"/>
                <a:gd name="T81" fmla="*/ 20 h 67"/>
                <a:gd name="T82" fmla="*/ 66 w 67"/>
                <a:gd name="T83" fmla="*/ 27 h 67"/>
                <a:gd name="T84" fmla="*/ 67 w 67"/>
                <a:gd name="T85" fmla="*/ 33 h 67"/>
                <a:gd name="T86" fmla="*/ 66 w 67"/>
                <a:gd name="T87" fmla="*/ 40 h 67"/>
                <a:gd name="T88" fmla="*/ 65 w 67"/>
                <a:gd name="T89" fmla="*/ 47 h 67"/>
                <a:gd name="T90" fmla="*/ 62 w 67"/>
                <a:gd name="T91" fmla="*/ 52 h 67"/>
                <a:gd name="T92" fmla="*/ 58 w 67"/>
                <a:gd name="T93" fmla="*/ 58 h 67"/>
                <a:gd name="T94" fmla="*/ 52 w 67"/>
                <a:gd name="T95" fmla="*/ 62 h 67"/>
                <a:gd name="T96" fmla="*/ 47 w 67"/>
                <a:gd name="T97" fmla="*/ 64 h 67"/>
                <a:gd name="T98" fmla="*/ 40 w 67"/>
                <a:gd name="T99" fmla="*/ 66 h 67"/>
                <a:gd name="T100" fmla="*/ 33 w 67"/>
                <a:gd name="T101" fmla="*/ 67 h 67"/>
                <a:gd name="T102" fmla="*/ 33 w 67"/>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7">
                  <a:moveTo>
                    <a:pt x="33" y="30"/>
                  </a:moveTo>
                  <a:lnTo>
                    <a:pt x="32" y="30"/>
                  </a:lnTo>
                  <a:lnTo>
                    <a:pt x="31" y="31"/>
                  </a:lnTo>
                  <a:lnTo>
                    <a:pt x="30" y="32"/>
                  </a:lnTo>
                  <a:lnTo>
                    <a:pt x="30" y="33"/>
                  </a:lnTo>
                  <a:lnTo>
                    <a:pt x="30" y="35"/>
                  </a:lnTo>
                  <a:lnTo>
                    <a:pt x="31" y="36"/>
                  </a:lnTo>
                  <a:lnTo>
                    <a:pt x="32" y="36"/>
                  </a:lnTo>
                  <a:lnTo>
                    <a:pt x="33" y="36"/>
                  </a:lnTo>
                  <a:lnTo>
                    <a:pt x="35" y="36"/>
                  </a:lnTo>
                  <a:lnTo>
                    <a:pt x="36" y="36"/>
                  </a:lnTo>
                  <a:lnTo>
                    <a:pt x="37" y="35"/>
                  </a:lnTo>
                  <a:lnTo>
                    <a:pt x="37" y="33"/>
                  </a:lnTo>
                  <a:lnTo>
                    <a:pt x="37" y="32"/>
                  </a:lnTo>
                  <a:lnTo>
                    <a:pt x="36" y="31"/>
                  </a:lnTo>
                  <a:lnTo>
                    <a:pt x="35" y="30"/>
                  </a:lnTo>
                  <a:lnTo>
                    <a:pt x="33" y="30"/>
                  </a:lnTo>
                  <a:lnTo>
                    <a:pt x="33" y="30"/>
                  </a:lnTo>
                  <a:close/>
                  <a:moveTo>
                    <a:pt x="33" y="67"/>
                  </a:moveTo>
                  <a:lnTo>
                    <a:pt x="26" y="66"/>
                  </a:lnTo>
                  <a:lnTo>
                    <a:pt x="20" y="64"/>
                  </a:lnTo>
                  <a:lnTo>
                    <a:pt x="15" y="62"/>
                  </a:lnTo>
                  <a:lnTo>
                    <a:pt x="9" y="58"/>
                  </a:lnTo>
                  <a:lnTo>
                    <a:pt x="5" y="52"/>
                  </a:lnTo>
                  <a:lnTo>
                    <a:pt x="2" y="47"/>
                  </a:lnTo>
                  <a:lnTo>
                    <a:pt x="0" y="40"/>
                  </a:lnTo>
                  <a:lnTo>
                    <a:pt x="0" y="33"/>
                  </a:lnTo>
                  <a:lnTo>
                    <a:pt x="0" y="27"/>
                  </a:lnTo>
                  <a:lnTo>
                    <a:pt x="2" y="20"/>
                  </a:lnTo>
                  <a:lnTo>
                    <a:pt x="5" y="15"/>
                  </a:lnTo>
                  <a:lnTo>
                    <a:pt x="9" y="9"/>
                  </a:lnTo>
                  <a:lnTo>
                    <a:pt x="15" y="5"/>
                  </a:lnTo>
                  <a:lnTo>
                    <a:pt x="20" y="2"/>
                  </a:lnTo>
                  <a:lnTo>
                    <a:pt x="26" y="0"/>
                  </a:lnTo>
                  <a:lnTo>
                    <a:pt x="33" y="0"/>
                  </a:lnTo>
                  <a:lnTo>
                    <a:pt x="40" y="0"/>
                  </a:lnTo>
                  <a:lnTo>
                    <a:pt x="47" y="2"/>
                  </a:lnTo>
                  <a:lnTo>
                    <a:pt x="52" y="5"/>
                  </a:lnTo>
                  <a:lnTo>
                    <a:pt x="58" y="9"/>
                  </a:lnTo>
                  <a:lnTo>
                    <a:pt x="62" y="15"/>
                  </a:lnTo>
                  <a:lnTo>
                    <a:pt x="65" y="20"/>
                  </a:lnTo>
                  <a:lnTo>
                    <a:pt x="66" y="27"/>
                  </a:lnTo>
                  <a:lnTo>
                    <a:pt x="67" y="33"/>
                  </a:lnTo>
                  <a:lnTo>
                    <a:pt x="66" y="40"/>
                  </a:lnTo>
                  <a:lnTo>
                    <a:pt x="65" y="47"/>
                  </a:lnTo>
                  <a:lnTo>
                    <a:pt x="62" y="52"/>
                  </a:lnTo>
                  <a:lnTo>
                    <a:pt x="58" y="58"/>
                  </a:lnTo>
                  <a:lnTo>
                    <a:pt x="52" y="62"/>
                  </a:lnTo>
                  <a:lnTo>
                    <a:pt x="47" y="64"/>
                  </a:lnTo>
                  <a:lnTo>
                    <a:pt x="40" y="66"/>
                  </a:lnTo>
                  <a:lnTo>
                    <a:pt x="33" y="67"/>
                  </a:lnTo>
                  <a:lnTo>
                    <a:pt x="3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8" name="Freeform 12">
              <a:extLst>
                <a:ext uri="{FF2B5EF4-FFF2-40B4-BE49-F238E27FC236}">
                  <a16:creationId xmlns:a16="http://schemas.microsoft.com/office/drawing/2014/main" id="{0D50E5F5-E0A2-4B5C-B6A1-83E1714CAE45}"/>
                </a:ext>
              </a:extLst>
            </p:cNvPr>
            <p:cNvSpPr>
              <a:spLocks noEditPoints="1"/>
            </p:cNvSpPr>
            <p:nvPr/>
          </p:nvSpPr>
          <p:spPr bwMode="auto">
            <a:xfrm>
              <a:off x="5078413" y="914401"/>
              <a:ext cx="20638" cy="20638"/>
            </a:xfrm>
            <a:custGeom>
              <a:avLst/>
              <a:gdLst>
                <a:gd name="T0" fmla="*/ 34 w 67"/>
                <a:gd name="T1" fmla="*/ 30 h 67"/>
                <a:gd name="T2" fmla="*/ 32 w 67"/>
                <a:gd name="T3" fmla="*/ 30 h 67"/>
                <a:gd name="T4" fmla="*/ 31 w 67"/>
                <a:gd name="T5" fmla="*/ 31 h 67"/>
                <a:gd name="T6" fmla="*/ 30 w 67"/>
                <a:gd name="T7" fmla="*/ 32 h 67"/>
                <a:gd name="T8" fmla="*/ 30 w 67"/>
                <a:gd name="T9" fmla="*/ 33 h 67"/>
                <a:gd name="T10" fmla="*/ 30 w 67"/>
                <a:gd name="T11" fmla="*/ 35 h 67"/>
                <a:gd name="T12" fmla="*/ 31 w 67"/>
                <a:gd name="T13" fmla="*/ 36 h 67"/>
                <a:gd name="T14" fmla="*/ 32 w 67"/>
                <a:gd name="T15" fmla="*/ 36 h 67"/>
                <a:gd name="T16" fmla="*/ 34 w 67"/>
                <a:gd name="T17" fmla="*/ 36 h 67"/>
                <a:gd name="T18" fmla="*/ 35 w 67"/>
                <a:gd name="T19" fmla="*/ 36 h 67"/>
                <a:gd name="T20" fmla="*/ 36 w 67"/>
                <a:gd name="T21" fmla="*/ 36 h 67"/>
                <a:gd name="T22" fmla="*/ 37 w 67"/>
                <a:gd name="T23" fmla="*/ 35 h 67"/>
                <a:gd name="T24" fmla="*/ 37 w 67"/>
                <a:gd name="T25" fmla="*/ 33 h 67"/>
                <a:gd name="T26" fmla="*/ 37 w 67"/>
                <a:gd name="T27" fmla="*/ 32 h 67"/>
                <a:gd name="T28" fmla="*/ 36 w 67"/>
                <a:gd name="T29" fmla="*/ 31 h 67"/>
                <a:gd name="T30" fmla="*/ 35 w 67"/>
                <a:gd name="T31" fmla="*/ 30 h 67"/>
                <a:gd name="T32" fmla="*/ 34 w 67"/>
                <a:gd name="T33" fmla="*/ 30 h 67"/>
                <a:gd name="T34" fmla="*/ 34 w 67"/>
                <a:gd name="T35" fmla="*/ 30 h 67"/>
                <a:gd name="T36" fmla="*/ 34 w 67"/>
                <a:gd name="T37" fmla="*/ 67 h 67"/>
                <a:gd name="T38" fmla="*/ 26 w 67"/>
                <a:gd name="T39" fmla="*/ 66 h 67"/>
                <a:gd name="T40" fmla="*/ 20 w 67"/>
                <a:gd name="T41" fmla="*/ 64 h 67"/>
                <a:gd name="T42" fmla="*/ 15 w 67"/>
                <a:gd name="T43" fmla="*/ 62 h 67"/>
                <a:gd name="T44" fmla="*/ 9 w 67"/>
                <a:gd name="T45" fmla="*/ 58 h 67"/>
                <a:gd name="T46" fmla="*/ 5 w 67"/>
                <a:gd name="T47" fmla="*/ 52 h 67"/>
                <a:gd name="T48" fmla="*/ 2 w 67"/>
                <a:gd name="T49" fmla="*/ 47 h 67"/>
                <a:gd name="T50" fmla="*/ 0 w 67"/>
                <a:gd name="T51" fmla="*/ 40 h 67"/>
                <a:gd name="T52" fmla="*/ 0 w 67"/>
                <a:gd name="T53" fmla="*/ 33 h 67"/>
                <a:gd name="T54" fmla="*/ 0 w 67"/>
                <a:gd name="T55" fmla="*/ 27 h 67"/>
                <a:gd name="T56" fmla="*/ 2 w 67"/>
                <a:gd name="T57" fmla="*/ 20 h 67"/>
                <a:gd name="T58" fmla="*/ 5 w 67"/>
                <a:gd name="T59" fmla="*/ 15 h 67"/>
                <a:gd name="T60" fmla="*/ 9 w 67"/>
                <a:gd name="T61" fmla="*/ 9 h 67"/>
                <a:gd name="T62" fmla="*/ 15 w 67"/>
                <a:gd name="T63" fmla="*/ 5 h 67"/>
                <a:gd name="T64" fmla="*/ 20 w 67"/>
                <a:gd name="T65" fmla="*/ 2 h 67"/>
                <a:gd name="T66" fmla="*/ 26 w 67"/>
                <a:gd name="T67" fmla="*/ 0 h 67"/>
                <a:gd name="T68" fmla="*/ 34 w 67"/>
                <a:gd name="T69" fmla="*/ 0 h 67"/>
                <a:gd name="T70" fmla="*/ 40 w 67"/>
                <a:gd name="T71" fmla="*/ 0 h 67"/>
                <a:gd name="T72" fmla="*/ 47 w 67"/>
                <a:gd name="T73" fmla="*/ 2 h 67"/>
                <a:gd name="T74" fmla="*/ 52 w 67"/>
                <a:gd name="T75" fmla="*/ 5 h 67"/>
                <a:gd name="T76" fmla="*/ 57 w 67"/>
                <a:gd name="T77" fmla="*/ 9 h 67"/>
                <a:gd name="T78" fmla="*/ 62 w 67"/>
                <a:gd name="T79" fmla="*/ 15 h 67"/>
                <a:gd name="T80" fmla="*/ 65 w 67"/>
                <a:gd name="T81" fmla="*/ 20 h 67"/>
                <a:gd name="T82" fmla="*/ 67 w 67"/>
                <a:gd name="T83" fmla="*/ 27 h 67"/>
                <a:gd name="T84" fmla="*/ 67 w 67"/>
                <a:gd name="T85" fmla="*/ 33 h 67"/>
                <a:gd name="T86" fmla="*/ 67 w 67"/>
                <a:gd name="T87" fmla="*/ 40 h 67"/>
                <a:gd name="T88" fmla="*/ 65 w 67"/>
                <a:gd name="T89" fmla="*/ 47 h 67"/>
                <a:gd name="T90" fmla="*/ 62 w 67"/>
                <a:gd name="T91" fmla="*/ 52 h 67"/>
                <a:gd name="T92" fmla="*/ 57 w 67"/>
                <a:gd name="T93" fmla="*/ 58 h 67"/>
                <a:gd name="T94" fmla="*/ 52 w 67"/>
                <a:gd name="T95" fmla="*/ 62 h 67"/>
                <a:gd name="T96" fmla="*/ 47 w 67"/>
                <a:gd name="T97" fmla="*/ 64 h 67"/>
                <a:gd name="T98" fmla="*/ 40 w 67"/>
                <a:gd name="T99" fmla="*/ 66 h 67"/>
                <a:gd name="T100" fmla="*/ 34 w 67"/>
                <a:gd name="T101" fmla="*/ 67 h 67"/>
                <a:gd name="T102" fmla="*/ 34 w 67"/>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7">
                  <a:moveTo>
                    <a:pt x="34" y="30"/>
                  </a:moveTo>
                  <a:lnTo>
                    <a:pt x="32" y="30"/>
                  </a:lnTo>
                  <a:lnTo>
                    <a:pt x="31" y="31"/>
                  </a:lnTo>
                  <a:lnTo>
                    <a:pt x="30" y="32"/>
                  </a:lnTo>
                  <a:lnTo>
                    <a:pt x="30" y="33"/>
                  </a:lnTo>
                  <a:lnTo>
                    <a:pt x="30" y="35"/>
                  </a:lnTo>
                  <a:lnTo>
                    <a:pt x="31" y="36"/>
                  </a:lnTo>
                  <a:lnTo>
                    <a:pt x="32" y="36"/>
                  </a:lnTo>
                  <a:lnTo>
                    <a:pt x="34" y="36"/>
                  </a:lnTo>
                  <a:lnTo>
                    <a:pt x="35" y="36"/>
                  </a:lnTo>
                  <a:lnTo>
                    <a:pt x="36" y="36"/>
                  </a:lnTo>
                  <a:lnTo>
                    <a:pt x="37" y="35"/>
                  </a:lnTo>
                  <a:lnTo>
                    <a:pt x="37" y="33"/>
                  </a:lnTo>
                  <a:lnTo>
                    <a:pt x="37" y="32"/>
                  </a:lnTo>
                  <a:lnTo>
                    <a:pt x="36" y="31"/>
                  </a:lnTo>
                  <a:lnTo>
                    <a:pt x="35" y="30"/>
                  </a:lnTo>
                  <a:lnTo>
                    <a:pt x="34" y="30"/>
                  </a:lnTo>
                  <a:lnTo>
                    <a:pt x="34" y="30"/>
                  </a:lnTo>
                  <a:close/>
                  <a:moveTo>
                    <a:pt x="34" y="67"/>
                  </a:moveTo>
                  <a:lnTo>
                    <a:pt x="26" y="66"/>
                  </a:lnTo>
                  <a:lnTo>
                    <a:pt x="20" y="64"/>
                  </a:lnTo>
                  <a:lnTo>
                    <a:pt x="15" y="62"/>
                  </a:lnTo>
                  <a:lnTo>
                    <a:pt x="9" y="58"/>
                  </a:lnTo>
                  <a:lnTo>
                    <a:pt x="5" y="52"/>
                  </a:lnTo>
                  <a:lnTo>
                    <a:pt x="2" y="47"/>
                  </a:lnTo>
                  <a:lnTo>
                    <a:pt x="0" y="40"/>
                  </a:lnTo>
                  <a:lnTo>
                    <a:pt x="0" y="33"/>
                  </a:lnTo>
                  <a:lnTo>
                    <a:pt x="0" y="27"/>
                  </a:lnTo>
                  <a:lnTo>
                    <a:pt x="2" y="20"/>
                  </a:lnTo>
                  <a:lnTo>
                    <a:pt x="5" y="15"/>
                  </a:lnTo>
                  <a:lnTo>
                    <a:pt x="9" y="9"/>
                  </a:lnTo>
                  <a:lnTo>
                    <a:pt x="15" y="5"/>
                  </a:lnTo>
                  <a:lnTo>
                    <a:pt x="20" y="2"/>
                  </a:lnTo>
                  <a:lnTo>
                    <a:pt x="26" y="0"/>
                  </a:lnTo>
                  <a:lnTo>
                    <a:pt x="34" y="0"/>
                  </a:lnTo>
                  <a:lnTo>
                    <a:pt x="40" y="0"/>
                  </a:lnTo>
                  <a:lnTo>
                    <a:pt x="47" y="2"/>
                  </a:lnTo>
                  <a:lnTo>
                    <a:pt x="52" y="5"/>
                  </a:lnTo>
                  <a:lnTo>
                    <a:pt x="57" y="9"/>
                  </a:lnTo>
                  <a:lnTo>
                    <a:pt x="62" y="15"/>
                  </a:lnTo>
                  <a:lnTo>
                    <a:pt x="65" y="20"/>
                  </a:lnTo>
                  <a:lnTo>
                    <a:pt x="67" y="27"/>
                  </a:lnTo>
                  <a:lnTo>
                    <a:pt x="67" y="33"/>
                  </a:lnTo>
                  <a:lnTo>
                    <a:pt x="67" y="40"/>
                  </a:lnTo>
                  <a:lnTo>
                    <a:pt x="65" y="47"/>
                  </a:lnTo>
                  <a:lnTo>
                    <a:pt x="62" y="52"/>
                  </a:lnTo>
                  <a:lnTo>
                    <a:pt x="57" y="58"/>
                  </a:lnTo>
                  <a:lnTo>
                    <a:pt x="52" y="62"/>
                  </a:lnTo>
                  <a:lnTo>
                    <a:pt x="47" y="64"/>
                  </a:lnTo>
                  <a:lnTo>
                    <a:pt x="40" y="66"/>
                  </a:lnTo>
                  <a:lnTo>
                    <a:pt x="34" y="67"/>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9" name="Freeform 13">
              <a:extLst>
                <a:ext uri="{FF2B5EF4-FFF2-40B4-BE49-F238E27FC236}">
                  <a16:creationId xmlns:a16="http://schemas.microsoft.com/office/drawing/2014/main" id="{1136ECFA-9B1F-4E3C-8F52-A4746EFF3931}"/>
                </a:ext>
              </a:extLst>
            </p:cNvPr>
            <p:cNvSpPr>
              <a:spLocks noEditPoints="1"/>
            </p:cNvSpPr>
            <p:nvPr/>
          </p:nvSpPr>
          <p:spPr bwMode="auto">
            <a:xfrm>
              <a:off x="5029200" y="914401"/>
              <a:ext cx="22225" cy="20638"/>
            </a:xfrm>
            <a:custGeom>
              <a:avLst/>
              <a:gdLst>
                <a:gd name="T0" fmla="*/ 34 w 68"/>
                <a:gd name="T1" fmla="*/ 30 h 67"/>
                <a:gd name="T2" fmla="*/ 33 w 68"/>
                <a:gd name="T3" fmla="*/ 30 h 67"/>
                <a:gd name="T4" fmla="*/ 31 w 68"/>
                <a:gd name="T5" fmla="*/ 31 h 67"/>
                <a:gd name="T6" fmla="*/ 31 w 68"/>
                <a:gd name="T7" fmla="*/ 32 h 67"/>
                <a:gd name="T8" fmla="*/ 30 w 68"/>
                <a:gd name="T9" fmla="*/ 33 h 67"/>
                <a:gd name="T10" fmla="*/ 31 w 68"/>
                <a:gd name="T11" fmla="*/ 35 h 67"/>
                <a:gd name="T12" fmla="*/ 31 w 68"/>
                <a:gd name="T13" fmla="*/ 36 h 67"/>
                <a:gd name="T14" fmla="*/ 33 w 68"/>
                <a:gd name="T15" fmla="*/ 36 h 67"/>
                <a:gd name="T16" fmla="*/ 34 w 68"/>
                <a:gd name="T17" fmla="*/ 36 h 67"/>
                <a:gd name="T18" fmla="*/ 35 w 68"/>
                <a:gd name="T19" fmla="*/ 36 h 67"/>
                <a:gd name="T20" fmla="*/ 36 w 68"/>
                <a:gd name="T21" fmla="*/ 36 h 67"/>
                <a:gd name="T22" fmla="*/ 37 w 68"/>
                <a:gd name="T23" fmla="*/ 35 h 67"/>
                <a:gd name="T24" fmla="*/ 38 w 68"/>
                <a:gd name="T25" fmla="*/ 33 h 67"/>
                <a:gd name="T26" fmla="*/ 37 w 68"/>
                <a:gd name="T27" fmla="*/ 32 h 67"/>
                <a:gd name="T28" fmla="*/ 37 w 68"/>
                <a:gd name="T29" fmla="*/ 31 h 67"/>
                <a:gd name="T30" fmla="*/ 35 w 68"/>
                <a:gd name="T31" fmla="*/ 30 h 67"/>
                <a:gd name="T32" fmla="*/ 34 w 68"/>
                <a:gd name="T33" fmla="*/ 30 h 67"/>
                <a:gd name="T34" fmla="*/ 34 w 68"/>
                <a:gd name="T35" fmla="*/ 30 h 67"/>
                <a:gd name="T36" fmla="*/ 34 w 68"/>
                <a:gd name="T37" fmla="*/ 67 h 67"/>
                <a:gd name="T38" fmla="*/ 27 w 68"/>
                <a:gd name="T39" fmla="*/ 66 h 67"/>
                <a:gd name="T40" fmla="*/ 21 w 68"/>
                <a:gd name="T41" fmla="*/ 64 h 67"/>
                <a:gd name="T42" fmla="*/ 15 w 68"/>
                <a:gd name="T43" fmla="*/ 62 h 67"/>
                <a:gd name="T44" fmla="*/ 10 w 68"/>
                <a:gd name="T45" fmla="*/ 58 h 67"/>
                <a:gd name="T46" fmla="*/ 6 w 68"/>
                <a:gd name="T47" fmla="*/ 52 h 67"/>
                <a:gd name="T48" fmla="*/ 3 w 68"/>
                <a:gd name="T49" fmla="*/ 47 h 67"/>
                <a:gd name="T50" fmla="*/ 1 w 68"/>
                <a:gd name="T51" fmla="*/ 40 h 67"/>
                <a:gd name="T52" fmla="*/ 0 w 68"/>
                <a:gd name="T53" fmla="*/ 33 h 67"/>
                <a:gd name="T54" fmla="*/ 1 w 68"/>
                <a:gd name="T55" fmla="*/ 27 h 67"/>
                <a:gd name="T56" fmla="*/ 3 w 68"/>
                <a:gd name="T57" fmla="*/ 20 h 67"/>
                <a:gd name="T58" fmla="*/ 6 w 68"/>
                <a:gd name="T59" fmla="*/ 15 h 67"/>
                <a:gd name="T60" fmla="*/ 10 w 68"/>
                <a:gd name="T61" fmla="*/ 9 h 67"/>
                <a:gd name="T62" fmla="*/ 15 w 68"/>
                <a:gd name="T63" fmla="*/ 5 h 67"/>
                <a:gd name="T64" fmla="*/ 21 w 68"/>
                <a:gd name="T65" fmla="*/ 2 h 67"/>
                <a:gd name="T66" fmla="*/ 27 w 68"/>
                <a:gd name="T67" fmla="*/ 0 h 67"/>
                <a:gd name="T68" fmla="*/ 34 w 68"/>
                <a:gd name="T69" fmla="*/ 0 h 67"/>
                <a:gd name="T70" fmla="*/ 40 w 68"/>
                <a:gd name="T71" fmla="*/ 0 h 67"/>
                <a:gd name="T72" fmla="*/ 47 w 68"/>
                <a:gd name="T73" fmla="*/ 2 h 67"/>
                <a:gd name="T74" fmla="*/ 53 w 68"/>
                <a:gd name="T75" fmla="*/ 5 h 67"/>
                <a:gd name="T76" fmla="*/ 57 w 68"/>
                <a:gd name="T77" fmla="*/ 9 h 67"/>
                <a:gd name="T78" fmla="*/ 62 w 68"/>
                <a:gd name="T79" fmla="*/ 15 h 67"/>
                <a:gd name="T80" fmla="*/ 65 w 68"/>
                <a:gd name="T81" fmla="*/ 20 h 67"/>
                <a:gd name="T82" fmla="*/ 67 w 68"/>
                <a:gd name="T83" fmla="*/ 27 h 67"/>
                <a:gd name="T84" fmla="*/ 68 w 68"/>
                <a:gd name="T85" fmla="*/ 33 h 67"/>
                <a:gd name="T86" fmla="*/ 67 w 68"/>
                <a:gd name="T87" fmla="*/ 40 h 67"/>
                <a:gd name="T88" fmla="*/ 65 w 68"/>
                <a:gd name="T89" fmla="*/ 47 h 67"/>
                <a:gd name="T90" fmla="*/ 62 w 68"/>
                <a:gd name="T91" fmla="*/ 52 h 67"/>
                <a:gd name="T92" fmla="*/ 57 w 68"/>
                <a:gd name="T93" fmla="*/ 58 h 67"/>
                <a:gd name="T94" fmla="*/ 53 w 68"/>
                <a:gd name="T95" fmla="*/ 62 h 67"/>
                <a:gd name="T96" fmla="*/ 47 w 68"/>
                <a:gd name="T97" fmla="*/ 64 h 67"/>
                <a:gd name="T98" fmla="*/ 40 w 68"/>
                <a:gd name="T99" fmla="*/ 66 h 67"/>
                <a:gd name="T100" fmla="*/ 34 w 68"/>
                <a:gd name="T101" fmla="*/ 67 h 67"/>
                <a:gd name="T102" fmla="*/ 34 w 68"/>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 h="67">
                  <a:moveTo>
                    <a:pt x="34" y="30"/>
                  </a:moveTo>
                  <a:lnTo>
                    <a:pt x="33" y="30"/>
                  </a:lnTo>
                  <a:lnTo>
                    <a:pt x="31" y="31"/>
                  </a:lnTo>
                  <a:lnTo>
                    <a:pt x="31" y="32"/>
                  </a:lnTo>
                  <a:lnTo>
                    <a:pt x="30" y="33"/>
                  </a:lnTo>
                  <a:lnTo>
                    <a:pt x="31" y="35"/>
                  </a:lnTo>
                  <a:lnTo>
                    <a:pt x="31" y="36"/>
                  </a:lnTo>
                  <a:lnTo>
                    <a:pt x="33" y="36"/>
                  </a:lnTo>
                  <a:lnTo>
                    <a:pt x="34" y="36"/>
                  </a:lnTo>
                  <a:lnTo>
                    <a:pt x="35" y="36"/>
                  </a:lnTo>
                  <a:lnTo>
                    <a:pt x="36" y="36"/>
                  </a:lnTo>
                  <a:lnTo>
                    <a:pt x="37" y="35"/>
                  </a:lnTo>
                  <a:lnTo>
                    <a:pt x="38" y="33"/>
                  </a:lnTo>
                  <a:lnTo>
                    <a:pt x="37" y="32"/>
                  </a:lnTo>
                  <a:lnTo>
                    <a:pt x="37" y="31"/>
                  </a:lnTo>
                  <a:lnTo>
                    <a:pt x="35" y="30"/>
                  </a:lnTo>
                  <a:lnTo>
                    <a:pt x="34" y="30"/>
                  </a:lnTo>
                  <a:lnTo>
                    <a:pt x="34" y="30"/>
                  </a:lnTo>
                  <a:close/>
                  <a:moveTo>
                    <a:pt x="34" y="67"/>
                  </a:moveTo>
                  <a:lnTo>
                    <a:pt x="27" y="66"/>
                  </a:lnTo>
                  <a:lnTo>
                    <a:pt x="21" y="64"/>
                  </a:lnTo>
                  <a:lnTo>
                    <a:pt x="15" y="62"/>
                  </a:lnTo>
                  <a:lnTo>
                    <a:pt x="10" y="58"/>
                  </a:lnTo>
                  <a:lnTo>
                    <a:pt x="6" y="52"/>
                  </a:lnTo>
                  <a:lnTo>
                    <a:pt x="3" y="47"/>
                  </a:lnTo>
                  <a:lnTo>
                    <a:pt x="1" y="40"/>
                  </a:lnTo>
                  <a:lnTo>
                    <a:pt x="0" y="33"/>
                  </a:lnTo>
                  <a:lnTo>
                    <a:pt x="1" y="27"/>
                  </a:lnTo>
                  <a:lnTo>
                    <a:pt x="3" y="20"/>
                  </a:lnTo>
                  <a:lnTo>
                    <a:pt x="6" y="15"/>
                  </a:lnTo>
                  <a:lnTo>
                    <a:pt x="10" y="9"/>
                  </a:lnTo>
                  <a:lnTo>
                    <a:pt x="15" y="5"/>
                  </a:lnTo>
                  <a:lnTo>
                    <a:pt x="21" y="2"/>
                  </a:lnTo>
                  <a:lnTo>
                    <a:pt x="27" y="0"/>
                  </a:lnTo>
                  <a:lnTo>
                    <a:pt x="34" y="0"/>
                  </a:lnTo>
                  <a:lnTo>
                    <a:pt x="40" y="0"/>
                  </a:lnTo>
                  <a:lnTo>
                    <a:pt x="47" y="2"/>
                  </a:lnTo>
                  <a:lnTo>
                    <a:pt x="53" y="5"/>
                  </a:lnTo>
                  <a:lnTo>
                    <a:pt x="57" y="9"/>
                  </a:lnTo>
                  <a:lnTo>
                    <a:pt x="62" y="15"/>
                  </a:lnTo>
                  <a:lnTo>
                    <a:pt x="65" y="20"/>
                  </a:lnTo>
                  <a:lnTo>
                    <a:pt x="67" y="27"/>
                  </a:lnTo>
                  <a:lnTo>
                    <a:pt x="68" y="33"/>
                  </a:lnTo>
                  <a:lnTo>
                    <a:pt x="67" y="40"/>
                  </a:lnTo>
                  <a:lnTo>
                    <a:pt x="65" y="47"/>
                  </a:lnTo>
                  <a:lnTo>
                    <a:pt x="62" y="52"/>
                  </a:lnTo>
                  <a:lnTo>
                    <a:pt x="57" y="58"/>
                  </a:lnTo>
                  <a:lnTo>
                    <a:pt x="53" y="62"/>
                  </a:lnTo>
                  <a:lnTo>
                    <a:pt x="47" y="64"/>
                  </a:lnTo>
                  <a:lnTo>
                    <a:pt x="40" y="66"/>
                  </a:lnTo>
                  <a:lnTo>
                    <a:pt x="34" y="67"/>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grpSp>
      <p:cxnSp>
        <p:nvCxnSpPr>
          <p:cNvPr id="42" name="Straight Connector 41">
            <a:extLst>
              <a:ext uri="{FF2B5EF4-FFF2-40B4-BE49-F238E27FC236}">
                <a16:creationId xmlns:a16="http://schemas.microsoft.com/office/drawing/2014/main" id="{9D0CB2C7-936F-4760-800C-72698E424787}"/>
              </a:ext>
            </a:extLst>
          </p:cNvPr>
          <p:cNvCxnSpPr/>
          <p:nvPr/>
        </p:nvCxnSpPr>
        <p:spPr>
          <a:xfrm>
            <a:off x="6216165" y="3162041"/>
            <a:ext cx="513763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E0D0DA-703A-407E-B945-286FA51596B1}"/>
              </a:ext>
            </a:extLst>
          </p:cNvPr>
          <p:cNvCxnSpPr/>
          <p:nvPr/>
        </p:nvCxnSpPr>
        <p:spPr>
          <a:xfrm>
            <a:off x="6216165" y="4773852"/>
            <a:ext cx="513763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Footer Placeholder 3">
            <a:extLst>
              <a:ext uri="{FF2B5EF4-FFF2-40B4-BE49-F238E27FC236}">
                <a16:creationId xmlns:a16="http://schemas.microsoft.com/office/drawing/2014/main" id="{4C9931FF-4AA6-4CC4-B7C9-A6FAC01A89A2}"/>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36532949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4D9057-53AF-4141-A233-072A8599C6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16" name="Object 15" hidden="1">
                        <a:extLst>
                          <a:ext uri="{FF2B5EF4-FFF2-40B4-BE49-F238E27FC236}">
                            <a16:creationId xmlns:a16="http://schemas.microsoft.com/office/drawing/2014/main" id="{1D4D9057-53AF-4141-A233-072A8599C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6" name="Isosceles Triangle 115">
            <a:extLst>
              <a:ext uri="{FF2B5EF4-FFF2-40B4-BE49-F238E27FC236}">
                <a16:creationId xmlns:a16="http://schemas.microsoft.com/office/drawing/2014/main" id="{17F187DA-B2BD-40D1-8C03-9BCDA72580FD}"/>
              </a:ext>
            </a:extLst>
          </p:cNvPr>
          <p:cNvSpPr/>
          <p:nvPr/>
        </p:nvSpPr>
        <p:spPr>
          <a:xfrm rot="10800000">
            <a:off x="3614055" y="5328539"/>
            <a:ext cx="371041" cy="462659"/>
          </a:xfrm>
          <a:prstGeom prst="triangle">
            <a:avLst>
              <a:gd name="adj" fmla="val 100000"/>
            </a:avLst>
          </a:prstGeom>
          <a:solidFill>
            <a:schemeClr val="tx2">
              <a:lumMod val="75000"/>
            </a:schemeClr>
          </a:solidFill>
          <a:ln>
            <a:noFill/>
          </a:ln>
        </p:spPr>
        <p:txBody>
          <a:bodyPr rtlCol="0" anchor="ctr">
            <a:noAutofit/>
          </a:bodyPr>
          <a:lstStyle/>
          <a:p>
            <a:pPr algn="ctr"/>
            <a:endParaRPr lang="da-DK" sz="7200" b="1" spc="-300" dirty="0">
              <a:solidFill>
                <a:schemeClr val="bg1"/>
              </a:solidFill>
            </a:endParaRPr>
          </a:p>
        </p:txBody>
      </p:sp>
      <p:sp>
        <p:nvSpPr>
          <p:cNvPr id="115" name="Isosceles Triangle 114">
            <a:extLst>
              <a:ext uri="{FF2B5EF4-FFF2-40B4-BE49-F238E27FC236}">
                <a16:creationId xmlns:a16="http://schemas.microsoft.com/office/drawing/2014/main" id="{C27E44A1-938F-4295-ABF1-4C55B9748710}"/>
              </a:ext>
            </a:extLst>
          </p:cNvPr>
          <p:cNvSpPr/>
          <p:nvPr/>
        </p:nvSpPr>
        <p:spPr>
          <a:xfrm>
            <a:off x="3614056" y="2075544"/>
            <a:ext cx="371041" cy="1004275"/>
          </a:xfrm>
          <a:prstGeom prst="triangle">
            <a:avLst>
              <a:gd name="adj" fmla="val 0"/>
            </a:avLst>
          </a:prstGeom>
          <a:solidFill>
            <a:schemeClr val="tx2">
              <a:lumMod val="75000"/>
            </a:schemeClr>
          </a:solidFill>
          <a:ln>
            <a:noFill/>
          </a:ln>
        </p:spPr>
        <p:txBody>
          <a:bodyPr rtlCol="0" anchor="ctr">
            <a:noAutofit/>
          </a:bodyPr>
          <a:lstStyle/>
          <a:p>
            <a:pPr algn="ctr"/>
            <a:endParaRPr lang="da-DK" sz="7200" b="1" spc="-300" dirty="0">
              <a:solidFill>
                <a:schemeClr val="bg1"/>
              </a:solidFill>
            </a:endParaRPr>
          </a:p>
        </p:txBody>
      </p:sp>
      <p:sp>
        <p:nvSpPr>
          <p:cNvPr id="2" name="Title 1">
            <a:extLst>
              <a:ext uri="{FF2B5EF4-FFF2-40B4-BE49-F238E27FC236}">
                <a16:creationId xmlns:a16="http://schemas.microsoft.com/office/drawing/2014/main" id="{EBFDFCA0-E5B5-4DA9-A6AB-F515A92FC2C6}"/>
              </a:ext>
            </a:extLst>
          </p:cNvPr>
          <p:cNvSpPr>
            <a:spLocks noGrp="1"/>
          </p:cNvSpPr>
          <p:nvPr>
            <p:ph type="title"/>
          </p:nvPr>
        </p:nvSpPr>
        <p:spPr/>
        <p:txBody>
          <a:bodyPr vert="horz"/>
          <a:lstStyle/>
          <a:p>
            <a:r>
              <a:rPr lang="en-US" dirty="0"/>
              <a:t>Provider Support</a:t>
            </a:r>
          </a:p>
        </p:txBody>
      </p:sp>
      <p:sp>
        <p:nvSpPr>
          <p:cNvPr id="4" name="Slide Number Placeholder 3">
            <a:extLst>
              <a:ext uri="{FF2B5EF4-FFF2-40B4-BE49-F238E27FC236}">
                <a16:creationId xmlns:a16="http://schemas.microsoft.com/office/drawing/2014/main" id="{31AF2170-5022-4AD8-9FF7-3CF6C5CEA4FD}"/>
              </a:ext>
            </a:extLst>
          </p:cNvPr>
          <p:cNvSpPr>
            <a:spLocks noGrp="1"/>
          </p:cNvSpPr>
          <p:nvPr>
            <p:ph type="sldNum" sz="quarter" idx="10"/>
          </p:nvPr>
        </p:nvSpPr>
        <p:spPr/>
        <p:txBody>
          <a:bodyPr/>
          <a:lstStyle/>
          <a:p>
            <a:fld id="{E1D6E511-78F2-1D4C-8218-60E971E66380}" type="slidenum">
              <a:rPr lang="en-US" altLang="en-US" smtClean="0"/>
              <a:pPr/>
              <a:t>32</a:t>
            </a:fld>
            <a:endParaRPr lang="en-US" altLang="en-US" dirty="0"/>
          </a:p>
        </p:txBody>
      </p:sp>
      <p:sp>
        <p:nvSpPr>
          <p:cNvPr id="46" name="Footer Placeholder 3">
            <a:extLst>
              <a:ext uri="{FF2B5EF4-FFF2-40B4-BE49-F238E27FC236}">
                <a16:creationId xmlns:a16="http://schemas.microsoft.com/office/drawing/2014/main" id="{26FD64B5-D1D4-4541-9D4B-B90FA30EC8A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sp>
        <p:nvSpPr>
          <p:cNvPr id="3" name="Rectangle 2">
            <a:extLst>
              <a:ext uri="{FF2B5EF4-FFF2-40B4-BE49-F238E27FC236}">
                <a16:creationId xmlns:a16="http://schemas.microsoft.com/office/drawing/2014/main" id="{3E36FE7B-77E0-4DD6-8D43-4147A83ACB8E}"/>
              </a:ext>
            </a:extLst>
          </p:cNvPr>
          <p:cNvSpPr/>
          <p:nvPr/>
        </p:nvSpPr>
        <p:spPr>
          <a:xfrm>
            <a:off x="943429" y="2077378"/>
            <a:ext cx="2670628" cy="3715656"/>
          </a:xfrm>
          <a:prstGeom prst="rect">
            <a:avLst/>
          </a:prstGeom>
          <a:solidFill>
            <a:srgbClr val="215D79"/>
          </a:solidFill>
          <a:ln>
            <a:noFill/>
          </a:ln>
        </p:spPr>
        <p:txBody>
          <a:bodyPr rtlCol="0" anchor="ctr">
            <a:noAutofit/>
          </a:bodyPr>
          <a:lstStyle/>
          <a:p>
            <a:pPr algn="ctr"/>
            <a:endParaRPr lang="da-DK" sz="7200" b="1" spc="-300" dirty="0">
              <a:solidFill>
                <a:srgbClr val="FFFFFF"/>
              </a:solidFill>
            </a:endParaRPr>
          </a:p>
        </p:txBody>
      </p:sp>
      <p:sp>
        <p:nvSpPr>
          <p:cNvPr id="49" name="Rectangle 48">
            <a:extLst>
              <a:ext uri="{FF2B5EF4-FFF2-40B4-BE49-F238E27FC236}">
                <a16:creationId xmlns:a16="http://schemas.microsoft.com/office/drawing/2014/main" id="{744C74D4-9E8C-4991-8C04-64532680336E}"/>
              </a:ext>
            </a:extLst>
          </p:cNvPr>
          <p:cNvSpPr/>
          <p:nvPr/>
        </p:nvSpPr>
        <p:spPr>
          <a:xfrm>
            <a:off x="1061462" y="2946370"/>
            <a:ext cx="2434562" cy="64633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HMS Provider Relations Line</a:t>
            </a:r>
          </a:p>
        </p:txBody>
      </p:sp>
      <p:sp>
        <p:nvSpPr>
          <p:cNvPr id="50" name="Rectangle 49">
            <a:extLst>
              <a:ext uri="{FF2B5EF4-FFF2-40B4-BE49-F238E27FC236}">
                <a16:creationId xmlns:a16="http://schemas.microsoft.com/office/drawing/2014/main" id="{5DBB789E-6EA4-4F91-9093-BA90F569B44F}"/>
              </a:ext>
            </a:extLst>
          </p:cNvPr>
          <p:cNvSpPr/>
          <p:nvPr/>
        </p:nvSpPr>
        <p:spPr>
          <a:xfrm>
            <a:off x="1061462" y="3818487"/>
            <a:ext cx="2434562"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877) 640-3419 </a:t>
            </a:r>
          </a:p>
        </p:txBody>
      </p:sp>
      <p:sp>
        <p:nvSpPr>
          <p:cNvPr id="51" name="Rectangle 50">
            <a:extLst>
              <a:ext uri="{FF2B5EF4-FFF2-40B4-BE49-F238E27FC236}">
                <a16:creationId xmlns:a16="http://schemas.microsoft.com/office/drawing/2014/main" id="{9CAB3047-C1DE-4BA3-910F-7C41221E6468}"/>
              </a:ext>
            </a:extLst>
          </p:cNvPr>
          <p:cNvSpPr/>
          <p:nvPr/>
        </p:nvSpPr>
        <p:spPr>
          <a:xfrm>
            <a:off x="1061462" y="4413607"/>
            <a:ext cx="2358361"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Provider Education Website:  </a:t>
            </a:r>
            <a:r>
              <a:rPr kumimoji="0" lang="en-US" sz="1400" b="0" i="0" u="none" strike="noStrike" kern="1200" cap="none" spc="0" normalizeH="0" baseline="0" noProof="0" dirty="0">
                <a:ln>
                  <a:noFill/>
                </a:ln>
                <a:solidFill>
                  <a:schemeClr val="bg1"/>
                </a:solidFill>
                <a:effectLst/>
                <a:uLnTx/>
                <a:uFillTx/>
                <a:latin typeface="Arial" charset="0"/>
                <a:ea typeface="+mn-ea"/>
                <a:cs typeface="+mn-cs"/>
                <a:hlinkClick r:id="rId6">
                  <a:extLst>
                    <a:ext uri="{A12FA001-AC4F-418D-AE19-62706E023703}">
                      <ahyp:hlinkClr xmlns:ahyp="http://schemas.microsoft.com/office/drawing/2018/hyperlinkcolor" val="tx"/>
                    </a:ext>
                  </a:extLst>
                </a:hlinkClick>
              </a:rPr>
              <a:t>https://resources.hms.com/state/colorado/rac </a:t>
            </a:r>
            <a:endParaRPr kumimoji="0" lang="en-US" sz="1800" b="0" i="0" u="none" strike="noStrike" kern="1200" cap="none" spc="0" normalizeH="0" baseline="0" noProof="0" dirty="0">
              <a:ln>
                <a:noFill/>
              </a:ln>
              <a:solidFill>
                <a:schemeClr val="bg1"/>
              </a:solidFill>
              <a:effectLst/>
              <a:uLnTx/>
              <a:uFillTx/>
              <a:latin typeface="Arial" charset="0"/>
              <a:ea typeface="+mn-ea"/>
              <a:cs typeface="+mn-cs"/>
            </a:endParaRPr>
          </a:p>
        </p:txBody>
      </p:sp>
      <p:grpSp>
        <p:nvGrpSpPr>
          <p:cNvPr id="52" name="Group 51">
            <a:extLst>
              <a:ext uri="{FF2B5EF4-FFF2-40B4-BE49-F238E27FC236}">
                <a16:creationId xmlns:a16="http://schemas.microsoft.com/office/drawing/2014/main" id="{D87541CE-0E47-4D77-89AB-5F813574B0AE}"/>
              </a:ext>
            </a:extLst>
          </p:cNvPr>
          <p:cNvGrpSpPr/>
          <p:nvPr/>
        </p:nvGrpSpPr>
        <p:grpSpPr>
          <a:xfrm>
            <a:off x="1154461" y="2314365"/>
            <a:ext cx="519112" cy="519112"/>
            <a:chOff x="3398838" y="2894013"/>
            <a:chExt cx="346075" cy="346075"/>
          </a:xfrm>
        </p:grpSpPr>
        <p:sp>
          <p:nvSpPr>
            <p:cNvPr id="53" name="Freeform 15">
              <a:extLst>
                <a:ext uri="{FF2B5EF4-FFF2-40B4-BE49-F238E27FC236}">
                  <a16:creationId xmlns:a16="http://schemas.microsoft.com/office/drawing/2014/main" id="{2C0EC166-27E3-4BBB-8472-8D4606745EE8}"/>
                </a:ext>
              </a:extLst>
            </p:cNvPr>
            <p:cNvSpPr>
              <a:spLocks/>
            </p:cNvSpPr>
            <p:nvPr/>
          </p:nvSpPr>
          <p:spPr bwMode="auto">
            <a:xfrm>
              <a:off x="3462338" y="2959101"/>
              <a:ext cx="219075" cy="217488"/>
            </a:xfrm>
            <a:custGeom>
              <a:avLst/>
              <a:gdLst>
                <a:gd name="T0" fmla="*/ 22 w 58"/>
                <a:gd name="T1" fmla="*/ 17 h 58"/>
                <a:gd name="T2" fmla="*/ 22 w 58"/>
                <a:gd name="T3" fmla="*/ 8 h 58"/>
                <a:gd name="T4" fmla="*/ 16 w 58"/>
                <a:gd name="T5" fmla="*/ 2 h 58"/>
                <a:gd name="T6" fmla="*/ 7 w 58"/>
                <a:gd name="T7" fmla="*/ 3 h 58"/>
                <a:gd name="T8" fmla="*/ 4 w 58"/>
                <a:gd name="T9" fmla="*/ 6 h 58"/>
                <a:gd name="T10" fmla="*/ 2 w 58"/>
                <a:gd name="T11" fmla="*/ 18 h 58"/>
                <a:gd name="T12" fmla="*/ 40 w 58"/>
                <a:gd name="T13" fmla="*/ 56 h 58"/>
                <a:gd name="T14" fmla="*/ 52 w 58"/>
                <a:gd name="T15" fmla="*/ 54 h 58"/>
                <a:gd name="T16" fmla="*/ 55 w 58"/>
                <a:gd name="T17" fmla="*/ 51 h 58"/>
                <a:gd name="T18" fmla="*/ 56 w 58"/>
                <a:gd name="T19" fmla="*/ 42 h 58"/>
                <a:gd name="T20" fmla="*/ 50 w 58"/>
                <a:gd name="T21" fmla="*/ 36 h 58"/>
                <a:gd name="T22" fmla="*/ 41 w 58"/>
                <a:gd name="T23" fmla="*/ 36 h 58"/>
                <a:gd name="T24" fmla="*/ 39 w 58"/>
                <a:gd name="T25" fmla="*/ 38 h 58"/>
                <a:gd name="T26" fmla="*/ 20 w 58"/>
                <a:gd name="T27" fmla="*/ 19 h 58"/>
                <a:gd name="T28" fmla="*/ 22 w 58"/>
                <a:gd name="T2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22" y="17"/>
                  </a:moveTo>
                  <a:cubicBezTo>
                    <a:pt x="24" y="15"/>
                    <a:pt x="25" y="11"/>
                    <a:pt x="22" y="8"/>
                  </a:cubicBezTo>
                  <a:cubicBezTo>
                    <a:pt x="16" y="2"/>
                    <a:pt x="16" y="2"/>
                    <a:pt x="16" y="2"/>
                  </a:cubicBezTo>
                  <a:cubicBezTo>
                    <a:pt x="14" y="0"/>
                    <a:pt x="10" y="0"/>
                    <a:pt x="7" y="3"/>
                  </a:cubicBezTo>
                  <a:cubicBezTo>
                    <a:pt x="4" y="6"/>
                    <a:pt x="4" y="6"/>
                    <a:pt x="4" y="6"/>
                  </a:cubicBezTo>
                  <a:cubicBezTo>
                    <a:pt x="0" y="10"/>
                    <a:pt x="0" y="15"/>
                    <a:pt x="2" y="18"/>
                  </a:cubicBezTo>
                  <a:cubicBezTo>
                    <a:pt x="11" y="33"/>
                    <a:pt x="25" y="47"/>
                    <a:pt x="40" y="56"/>
                  </a:cubicBezTo>
                  <a:cubicBezTo>
                    <a:pt x="43" y="58"/>
                    <a:pt x="48" y="58"/>
                    <a:pt x="52" y="54"/>
                  </a:cubicBezTo>
                  <a:cubicBezTo>
                    <a:pt x="55" y="51"/>
                    <a:pt x="55" y="51"/>
                    <a:pt x="55" y="51"/>
                  </a:cubicBezTo>
                  <a:cubicBezTo>
                    <a:pt x="58" y="48"/>
                    <a:pt x="58" y="44"/>
                    <a:pt x="56" y="42"/>
                  </a:cubicBezTo>
                  <a:cubicBezTo>
                    <a:pt x="50" y="36"/>
                    <a:pt x="50" y="36"/>
                    <a:pt x="50" y="36"/>
                  </a:cubicBezTo>
                  <a:cubicBezTo>
                    <a:pt x="47" y="33"/>
                    <a:pt x="43" y="34"/>
                    <a:pt x="41" y="36"/>
                  </a:cubicBezTo>
                  <a:cubicBezTo>
                    <a:pt x="39" y="38"/>
                    <a:pt x="39" y="38"/>
                    <a:pt x="39" y="38"/>
                  </a:cubicBezTo>
                  <a:cubicBezTo>
                    <a:pt x="32" y="33"/>
                    <a:pt x="25" y="26"/>
                    <a:pt x="20" y="19"/>
                  </a:cubicBezTo>
                  <a:lnTo>
                    <a:pt x="22" y="17"/>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16">
              <a:extLst>
                <a:ext uri="{FF2B5EF4-FFF2-40B4-BE49-F238E27FC236}">
                  <a16:creationId xmlns:a16="http://schemas.microsoft.com/office/drawing/2014/main" id="{7ABF4BAA-6BB3-443F-B9E5-73F4E9D890D5}"/>
                </a:ext>
              </a:extLst>
            </p:cNvPr>
            <p:cNvSpPr>
              <a:spLocks/>
            </p:cNvSpPr>
            <p:nvPr/>
          </p:nvSpPr>
          <p:spPr bwMode="auto">
            <a:xfrm>
              <a:off x="3398838" y="2894013"/>
              <a:ext cx="346075" cy="346075"/>
            </a:xfrm>
            <a:custGeom>
              <a:avLst/>
              <a:gdLst>
                <a:gd name="T0" fmla="*/ 70 w 92"/>
                <a:gd name="T1" fmla="*/ 70 h 92"/>
                <a:gd name="T2" fmla="*/ 46 w 92"/>
                <a:gd name="T3" fmla="*/ 92 h 92"/>
                <a:gd name="T4" fmla="*/ 0 w 92"/>
                <a:gd name="T5" fmla="*/ 46 h 92"/>
                <a:gd name="T6" fmla="*/ 46 w 92"/>
                <a:gd name="T7" fmla="*/ 0 h 92"/>
                <a:gd name="T8" fmla="*/ 92 w 92"/>
                <a:gd name="T9" fmla="*/ 46 h 92"/>
                <a:gd name="T10" fmla="*/ 84 w 92"/>
                <a:gd name="T11" fmla="*/ 72 h 92"/>
              </a:gdLst>
              <a:ahLst/>
              <a:cxnLst>
                <a:cxn ang="0">
                  <a:pos x="T0" y="T1"/>
                </a:cxn>
                <a:cxn ang="0">
                  <a:pos x="T2" y="T3"/>
                </a:cxn>
                <a:cxn ang="0">
                  <a:pos x="T4" y="T5"/>
                </a:cxn>
                <a:cxn ang="0">
                  <a:pos x="T6" y="T7"/>
                </a:cxn>
                <a:cxn ang="0">
                  <a:pos x="T8" y="T9"/>
                </a:cxn>
                <a:cxn ang="0">
                  <a:pos x="T10" y="T11"/>
                </a:cxn>
              </a:cxnLst>
              <a:rect l="0" t="0" r="r" b="b"/>
              <a:pathLst>
                <a:path w="92" h="92">
                  <a:moveTo>
                    <a:pt x="70" y="70"/>
                  </a:moveTo>
                  <a:cubicBezTo>
                    <a:pt x="72" y="72"/>
                    <a:pt x="76" y="92"/>
                    <a:pt x="46" y="92"/>
                  </a:cubicBezTo>
                  <a:cubicBezTo>
                    <a:pt x="21" y="92"/>
                    <a:pt x="0" y="71"/>
                    <a:pt x="0" y="46"/>
                  </a:cubicBezTo>
                  <a:cubicBezTo>
                    <a:pt x="0" y="21"/>
                    <a:pt x="21" y="0"/>
                    <a:pt x="46" y="0"/>
                  </a:cubicBezTo>
                  <a:cubicBezTo>
                    <a:pt x="71" y="0"/>
                    <a:pt x="92" y="21"/>
                    <a:pt x="92" y="46"/>
                  </a:cubicBezTo>
                  <a:cubicBezTo>
                    <a:pt x="92" y="56"/>
                    <a:pt x="89" y="65"/>
                    <a:pt x="84" y="72"/>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55" name="Straight Connector 54">
            <a:extLst>
              <a:ext uri="{FF2B5EF4-FFF2-40B4-BE49-F238E27FC236}">
                <a16:creationId xmlns:a16="http://schemas.microsoft.com/office/drawing/2014/main" id="{EBE9394E-8F1C-4080-983F-80CCF8F9B959}"/>
              </a:ext>
            </a:extLst>
          </p:cNvPr>
          <p:cNvCxnSpPr>
            <a:cxnSpLocks/>
          </p:cNvCxnSpPr>
          <p:nvPr/>
        </p:nvCxnSpPr>
        <p:spPr>
          <a:xfrm>
            <a:off x="1159223" y="3705594"/>
            <a:ext cx="22606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D22F443-6BA5-4FF1-8051-080853B9968A}"/>
              </a:ext>
            </a:extLst>
          </p:cNvPr>
          <p:cNvCxnSpPr>
            <a:cxnSpLocks/>
          </p:cNvCxnSpPr>
          <p:nvPr/>
        </p:nvCxnSpPr>
        <p:spPr>
          <a:xfrm>
            <a:off x="1159223" y="4300712"/>
            <a:ext cx="22606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958A9A7-9040-4AAA-AE78-66C242FB01EC}"/>
              </a:ext>
            </a:extLst>
          </p:cNvPr>
          <p:cNvSpPr/>
          <p:nvPr/>
        </p:nvSpPr>
        <p:spPr>
          <a:xfrm>
            <a:off x="3614057" y="3069724"/>
            <a:ext cx="8577943" cy="2258816"/>
          </a:xfrm>
          <a:prstGeom prst="rect">
            <a:avLst/>
          </a:prstGeom>
          <a:solidFill>
            <a:schemeClr val="bg1">
              <a:lumMod val="95000"/>
            </a:schemeClr>
          </a:solidFill>
          <a:ln>
            <a:noFill/>
          </a:ln>
        </p:spPr>
        <p:txBody>
          <a:bodyPr rtlCol="0" anchor="ctr">
            <a:noAutofit/>
          </a:bodyPr>
          <a:lstStyle/>
          <a:p>
            <a:pPr algn="ctr"/>
            <a:endParaRPr lang="da-DK" sz="7200" b="1" spc="-300" dirty="0">
              <a:solidFill>
                <a:srgbClr val="FFFFFF"/>
              </a:solidFill>
            </a:endParaRPr>
          </a:p>
        </p:txBody>
      </p:sp>
      <p:cxnSp>
        <p:nvCxnSpPr>
          <p:cNvPr id="59" name="Straight Connector 58">
            <a:extLst>
              <a:ext uri="{FF2B5EF4-FFF2-40B4-BE49-F238E27FC236}">
                <a16:creationId xmlns:a16="http://schemas.microsoft.com/office/drawing/2014/main" id="{B280537C-6D79-4D0F-84E3-029AB3A87986}"/>
              </a:ext>
            </a:extLst>
          </p:cNvPr>
          <p:cNvCxnSpPr>
            <a:cxnSpLocks/>
          </p:cNvCxnSpPr>
          <p:nvPr/>
        </p:nvCxnSpPr>
        <p:spPr>
          <a:xfrm>
            <a:off x="3614056" y="3069723"/>
            <a:ext cx="85779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AA7D97A7-E91A-42B6-9AB4-37E5FE445AF9}"/>
              </a:ext>
            </a:extLst>
          </p:cNvPr>
          <p:cNvSpPr/>
          <p:nvPr/>
        </p:nvSpPr>
        <p:spPr>
          <a:xfrm>
            <a:off x="4094805"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5" name="Oval 64">
            <a:extLst>
              <a:ext uri="{FF2B5EF4-FFF2-40B4-BE49-F238E27FC236}">
                <a16:creationId xmlns:a16="http://schemas.microsoft.com/office/drawing/2014/main" id="{F84D0146-146D-488F-A19F-B851CCA32F16}"/>
              </a:ext>
            </a:extLst>
          </p:cNvPr>
          <p:cNvSpPr/>
          <p:nvPr/>
        </p:nvSpPr>
        <p:spPr>
          <a:xfrm>
            <a:off x="5709522"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8" name="Oval 67">
            <a:extLst>
              <a:ext uri="{FF2B5EF4-FFF2-40B4-BE49-F238E27FC236}">
                <a16:creationId xmlns:a16="http://schemas.microsoft.com/office/drawing/2014/main" id="{74FFA960-9872-4EFC-9003-EBFE9C515991}"/>
              </a:ext>
            </a:extLst>
          </p:cNvPr>
          <p:cNvSpPr/>
          <p:nvPr/>
        </p:nvSpPr>
        <p:spPr>
          <a:xfrm>
            <a:off x="7487519"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71" name="Oval 70">
            <a:extLst>
              <a:ext uri="{FF2B5EF4-FFF2-40B4-BE49-F238E27FC236}">
                <a16:creationId xmlns:a16="http://schemas.microsoft.com/office/drawing/2014/main" id="{CA77C3A2-8A61-4670-BF0B-6C771864473E}"/>
              </a:ext>
            </a:extLst>
          </p:cNvPr>
          <p:cNvSpPr/>
          <p:nvPr/>
        </p:nvSpPr>
        <p:spPr>
          <a:xfrm>
            <a:off x="9909776"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1" name="Rectangle 60">
            <a:extLst>
              <a:ext uri="{FF2B5EF4-FFF2-40B4-BE49-F238E27FC236}">
                <a16:creationId xmlns:a16="http://schemas.microsoft.com/office/drawing/2014/main" id="{0D1C1BFC-3565-4554-9DB4-2498DD230B76}"/>
              </a:ext>
            </a:extLst>
          </p:cNvPr>
          <p:cNvSpPr/>
          <p:nvPr/>
        </p:nvSpPr>
        <p:spPr>
          <a:xfrm>
            <a:off x="3746390"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Letter</a:t>
            </a:r>
            <a:br>
              <a:rPr kumimoji="0" lang="en-US" sz="1600" b="1" i="0" u="none" strike="noStrike" kern="1200" cap="none" spc="0" normalizeH="0" baseline="0" noProof="0" dirty="0">
                <a:ln>
                  <a:noFill/>
                </a:ln>
                <a:solidFill>
                  <a:srgbClr val="485359"/>
                </a:solidFill>
                <a:effectLst/>
                <a:uLnTx/>
                <a:uFillTx/>
                <a:latin typeface="Arial" charset="0"/>
                <a:ea typeface="+mn-ea"/>
                <a:cs typeface="+mn-cs"/>
              </a:rPr>
            </a:br>
            <a:r>
              <a:rPr kumimoji="0" lang="en-US" sz="1600" b="1" i="0" u="none" strike="noStrike" kern="1200" cap="none" spc="0" normalizeH="0" baseline="0" noProof="0" dirty="0">
                <a:ln>
                  <a:noFill/>
                </a:ln>
                <a:solidFill>
                  <a:srgbClr val="485359"/>
                </a:solidFill>
                <a:effectLst/>
                <a:uLnTx/>
                <a:uFillTx/>
                <a:latin typeface="Arial" charset="0"/>
                <a:ea typeface="+mn-ea"/>
                <a:cs typeface="+mn-cs"/>
              </a:rPr>
              <a:t>inquiries</a:t>
            </a:r>
          </a:p>
        </p:txBody>
      </p:sp>
      <p:sp>
        <p:nvSpPr>
          <p:cNvPr id="66" name="Rectangle 65">
            <a:extLst>
              <a:ext uri="{FF2B5EF4-FFF2-40B4-BE49-F238E27FC236}">
                <a16:creationId xmlns:a16="http://schemas.microsoft.com/office/drawing/2014/main" id="{349A4068-F41D-4501-B8BD-81914BEE3FB4}"/>
              </a:ext>
            </a:extLst>
          </p:cNvPr>
          <p:cNvSpPr/>
          <p:nvPr/>
        </p:nvSpPr>
        <p:spPr>
          <a:xfrm>
            <a:off x="5371993"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Process questions</a:t>
            </a:r>
          </a:p>
        </p:txBody>
      </p:sp>
      <p:sp>
        <p:nvSpPr>
          <p:cNvPr id="69" name="Rectangle 68">
            <a:extLst>
              <a:ext uri="{FF2B5EF4-FFF2-40B4-BE49-F238E27FC236}">
                <a16:creationId xmlns:a16="http://schemas.microsoft.com/office/drawing/2014/main" id="{8FF5F5E4-66A0-4CE1-8F9F-4E00F0A4BCA9}"/>
              </a:ext>
            </a:extLst>
          </p:cNvPr>
          <p:cNvSpPr/>
          <p:nvPr/>
        </p:nvSpPr>
        <p:spPr>
          <a:xfrm>
            <a:off x="7149990"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Claim status verification</a:t>
            </a:r>
          </a:p>
        </p:txBody>
      </p:sp>
      <p:sp>
        <p:nvSpPr>
          <p:cNvPr id="72" name="Rectangle 71">
            <a:extLst>
              <a:ext uri="{FF2B5EF4-FFF2-40B4-BE49-F238E27FC236}">
                <a16:creationId xmlns:a16="http://schemas.microsoft.com/office/drawing/2014/main" id="{702F054C-D5D8-4CCD-967A-71E16A1EFB74}"/>
              </a:ext>
            </a:extLst>
          </p:cNvPr>
          <p:cNvSpPr/>
          <p:nvPr/>
        </p:nvSpPr>
        <p:spPr>
          <a:xfrm>
            <a:off x="9308993" y="3814969"/>
            <a:ext cx="2371367" cy="584775"/>
          </a:xfrm>
          <a:prstGeom prst="rect">
            <a:avLst/>
          </a:prstGeom>
        </p:spPr>
        <p:txBody>
          <a:bodyPr wrap="square" lIns="0" rIns="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Monday through Friday</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8 a.m. to 5:00 p.m. MST </a:t>
            </a:r>
          </a:p>
        </p:txBody>
      </p:sp>
      <p:grpSp>
        <p:nvGrpSpPr>
          <p:cNvPr id="75" name="Group 74">
            <a:extLst>
              <a:ext uri="{FF2B5EF4-FFF2-40B4-BE49-F238E27FC236}">
                <a16:creationId xmlns:a16="http://schemas.microsoft.com/office/drawing/2014/main" id="{F9DA0071-7831-4678-9CEC-044C022E1FCF}"/>
              </a:ext>
            </a:extLst>
          </p:cNvPr>
          <p:cNvGrpSpPr/>
          <p:nvPr/>
        </p:nvGrpSpPr>
        <p:grpSpPr>
          <a:xfrm>
            <a:off x="4382294" y="5143917"/>
            <a:ext cx="450056" cy="78276"/>
            <a:chOff x="2867729" y="3759200"/>
            <a:chExt cx="450056" cy="78276"/>
          </a:xfrm>
        </p:grpSpPr>
        <p:sp>
          <p:nvSpPr>
            <p:cNvPr id="76" name="Oval 75">
              <a:extLst>
                <a:ext uri="{FF2B5EF4-FFF2-40B4-BE49-F238E27FC236}">
                  <a16:creationId xmlns:a16="http://schemas.microsoft.com/office/drawing/2014/main" id="{A71775EB-FDF2-4594-96BF-C93A89AC542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7" name="Oval 76">
              <a:extLst>
                <a:ext uri="{FF2B5EF4-FFF2-40B4-BE49-F238E27FC236}">
                  <a16:creationId xmlns:a16="http://schemas.microsoft.com/office/drawing/2014/main" id="{E71B9E82-19E2-466C-9C90-E11CA612E699}"/>
                </a:ext>
              </a:extLst>
            </p:cNvPr>
            <p:cNvSpPr/>
            <p:nvPr/>
          </p:nvSpPr>
          <p:spPr>
            <a:xfrm>
              <a:off x="2991656"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8" name="Oval 77">
              <a:extLst>
                <a:ext uri="{FF2B5EF4-FFF2-40B4-BE49-F238E27FC236}">
                  <a16:creationId xmlns:a16="http://schemas.microsoft.com/office/drawing/2014/main" id="{5A52B3C9-0AC3-4D7B-942B-BF2CBEF18042}"/>
                </a:ext>
              </a:extLst>
            </p:cNvPr>
            <p:cNvSpPr/>
            <p:nvPr/>
          </p:nvSpPr>
          <p:spPr>
            <a:xfrm>
              <a:off x="3115583"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9" name="Oval 78">
              <a:extLst>
                <a:ext uri="{FF2B5EF4-FFF2-40B4-BE49-F238E27FC236}">
                  <a16:creationId xmlns:a16="http://schemas.microsoft.com/office/drawing/2014/main" id="{A9C33D36-035E-4C35-8A92-23142FE4B6F4}"/>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80" name="Group 79">
            <a:extLst>
              <a:ext uri="{FF2B5EF4-FFF2-40B4-BE49-F238E27FC236}">
                <a16:creationId xmlns:a16="http://schemas.microsoft.com/office/drawing/2014/main" id="{481251BA-2344-4570-8525-895E9F826F59}"/>
              </a:ext>
            </a:extLst>
          </p:cNvPr>
          <p:cNvGrpSpPr/>
          <p:nvPr/>
        </p:nvGrpSpPr>
        <p:grpSpPr>
          <a:xfrm>
            <a:off x="5997011" y="5143917"/>
            <a:ext cx="450056" cy="78276"/>
            <a:chOff x="2867729" y="3759200"/>
            <a:chExt cx="450056" cy="78276"/>
          </a:xfrm>
        </p:grpSpPr>
        <p:sp>
          <p:nvSpPr>
            <p:cNvPr id="81" name="Oval 80">
              <a:extLst>
                <a:ext uri="{FF2B5EF4-FFF2-40B4-BE49-F238E27FC236}">
                  <a16:creationId xmlns:a16="http://schemas.microsoft.com/office/drawing/2014/main" id="{EBD9BBE6-2157-43D0-9916-659ABA321F5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2" name="Oval 81">
              <a:extLst>
                <a:ext uri="{FF2B5EF4-FFF2-40B4-BE49-F238E27FC236}">
                  <a16:creationId xmlns:a16="http://schemas.microsoft.com/office/drawing/2014/main" id="{A764BD73-69B2-4915-ACD2-7CB0F3505F44}"/>
                </a:ext>
              </a:extLst>
            </p:cNvPr>
            <p:cNvSpPr/>
            <p:nvPr/>
          </p:nvSpPr>
          <p:spPr>
            <a:xfrm>
              <a:off x="2991656"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3" name="Oval 82">
              <a:extLst>
                <a:ext uri="{FF2B5EF4-FFF2-40B4-BE49-F238E27FC236}">
                  <a16:creationId xmlns:a16="http://schemas.microsoft.com/office/drawing/2014/main" id="{A4F377E6-140C-4995-B45B-771C06CDED1F}"/>
                </a:ext>
              </a:extLst>
            </p:cNvPr>
            <p:cNvSpPr/>
            <p:nvPr/>
          </p:nvSpPr>
          <p:spPr>
            <a:xfrm>
              <a:off x="3115583"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4" name="Oval 83">
              <a:extLst>
                <a:ext uri="{FF2B5EF4-FFF2-40B4-BE49-F238E27FC236}">
                  <a16:creationId xmlns:a16="http://schemas.microsoft.com/office/drawing/2014/main" id="{A1DCC7F4-9578-41B6-AA7C-579681CE7B01}"/>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85" name="Group 84">
            <a:extLst>
              <a:ext uri="{FF2B5EF4-FFF2-40B4-BE49-F238E27FC236}">
                <a16:creationId xmlns:a16="http://schemas.microsoft.com/office/drawing/2014/main" id="{9CA89DC7-24E4-4F3F-8EC8-93FBB9F28660}"/>
              </a:ext>
            </a:extLst>
          </p:cNvPr>
          <p:cNvGrpSpPr/>
          <p:nvPr/>
        </p:nvGrpSpPr>
        <p:grpSpPr>
          <a:xfrm>
            <a:off x="7775008" y="5143917"/>
            <a:ext cx="450056" cy="78276"/>
            <a:chOff x="2867729" y="3759200"/>
            <a:chExt cx="450056" cy="78276"/>
          </a:xfrm>
        </p:grpSpPr>
        <p:sp>
          <p:nvSpPr>
            <p:cNvPr id="86" name="Oval 85">
              <a:extLst>
                <a:ext uri="{FF2B5EF4-FFF2-40B4-BE49-F238E27FC236}">
                  <a16:creationId xmlns:a16="http://schemas.microsoft.com/office/drawing/2014/main" id="{6DD9580F-7714-4F4F-82DA-CAEE3E76859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7" name="Oval 86">
              <a:extLst>
                <a:ext uri="{FF2B5EF4-FFF2-40B4-BE49-F238E27FC236}">
                  <a16:creationId xmlns:a16="http://schemas.microsoft.com/office/drawing/2014/main" id="{1CEAACB5-18D5-4F1A-B380-4F5D056FC9D4}"/>
                </a:ext>
              </a:extLst>
            </p:cNvPr>
            <p:cNvSpPr/>
            <p:nvPr/>
          </p:nvSpPr>
          <p:spPr>
            <a:xfrm>
              <a:off x="2991656"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8" name="Oval 87">
              <a:extLst>
                <a:ext uri="{FF2B5EF4-FFF2-40B4-BE49-F238E27FC236}">
                  <a16:creationId xmlns:a16="http://schemas.microsoft.com/office/drawing/2014/main" id="{F136C98E-2944-46F6-8D69-21BB699CABB9}"/>
                </a:ext>
              </a:extLst>
            </p:cNvPr>
            <p:cNvSpPr/>
            <p:nvPr/>
          </p:nvSpPr>
          <p:spPr>
            <a:xfrm>
              <a:off x="3115583"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9" name="Oval 88">
              <a:extLst>
                <a:ext uri="{FF2B5EF4-FFF2-40B4-BE49-F238E27FC236}">
                  <a16:creationId xmlns:a16="http://schemas.microsoft.com/office/drawing/2014/main" id="{908450D7-C6AD-46D3-82D8-D29D52EC6669}"/>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90" name="Group 89">
            <a:extLst>
              <a:ext uri="{FF2B5EF4-FFF2-40B4-BE49-F238E27FC236}">
                <a16:creationId xmlns:a16="http://schemas.microsoft.com/office/drawing/2014/main" id="{82A79FDD-1E0E-44C3-90A0-FF9FA525FFD8}"/>
              </a:ext>
            </a:extLst>
          </p:cNvPr>
          <p:cNvGrpSpPr/>
          <p:nvPr/>
        </p:nvGrpSpPr>
        <p:grpSpPr>
          <a:xfrm>
            <a:off x="10181657" y="5143917"/>
            <a:ext cx="450056" cy="78276"/>
            <a:chOff x="2867729" y="3759200"/>
            <a:chExt cx="450056" cy="78276"/>
          </a:xfrm>
          <a:solidFill>
            <a:schemeClr val="accent4"/>
          </a:solidFill>
        </p:grpSpPr>
        <p:sp>
          <p:nvSpPr>
            <p:cNvPr id="91" name="Oval 90">
              <a:extLst>
                <a:ext uri="{FF2B5EF4-FFF2-40B4-BE49-F238E27FC236}">
                  <a16:creationId xmlns:a16="http://schemas.microsoft.com/office/drawing/2014/main" id="{11FBCA9E-53B0-4C23-B67E-3EF864F63FD3}"/>
                </a:ext>
              </a:extLst>
            </p:cNvPr>
            <p:cNvSpPr/>
            <p:nvPr/>
          </p:nvSpPr>
          <p:spPr>
            <a:xfrm>
              <a:off x="2867729"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2" name="Oval 91">
              <a:extLst>
                <a:ext uri="{FF2B5EF4-FFF2-40B4-BE49-F238E27FC236}">
                  <a16:creationId xmlns:a16="http://schemas.microsoft.com/office/drawing/2014/main" id="{19B7A6D5-8AAC-4A6D-80DA-C289F235470D}"/>
                </a:ext>
              </a:extLst>
            </p:cNvPr>
            <p:cNvSpPr/>
            <p:nvPr/>
          </p:nvSpPr>
          <p:spPr>
            <a:xfrm>
              <a:off x="2991656"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3" name="Oval 92">
              <a:extLst>
                <a:ext uri="{FF2B5EF4-FFF2-40B4-BE49-F238E27FC236}">
                  <a16:creationId xmlns:a16="http://schemas.microsoft.com/office/drawing/2014/main" id="{0951E589-9015-4DC8-8F49-77A9EC3449FA}"/>
                </a:ext>
              </a:extLst>
            </p:cNvPr>
            <p:cNvSpPr/>
            <p:nvPr/>
          </p:nvSpPr>
          <p:spPr>
            <a:xfrm>
              <a:off x="3115583"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4" name="Oval 93">
              <a:extLst>
                <a:ext uri="{FF2B5EF4-FFF2-40B4-BE49-F238E27FC236}">
                  <a16:creationId xmlns:a16="http://schemas.microsoft.com/office/drawing/2014/main" id="{4925993E-D374-421C-B58A-EBA4A6304026}"/>
                </a:ext>
              </a:extLst>
            </p:cNvPr>
            <p:cNvSpPr/>
            <p:nvPr/>
          </p:nvSpPr>
          <p:spPr>
            <a:xfrm>
              <a:off x="3239509"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95" name="Group 94">
            <a:extLst>
              <a:ext uri="{FF2B5EF4-FFF2-40B4-BE49-F238E27FC236}">
                <a16:creationId xmlns:a16="http://schemas.microsoft.com/office/drawing/2014/main" id="{7490357F-D608-4033-93EC-3A9ABC629DD7}"/>
              </a:ext>
            </a:extLst>
          </p:cNvPr>
          <p:cNvGrpSpPr/>
          <p:nvPr/>
        </p:nvGrpSpPr>
        <p:grpSpPr>
          <a:xfrm>
            <a:off x="4387863" y="2831263"/>
            <a:ext cx="438918" cy="438918"/>
            <a:chOff x="4891088" y="2490788"/>
            <a:chExt cx="287338" cy="287338"/>
          </a:xfrm>
          <a:solidFill>
            <a:schemeClr val="accent4"/>
          </a:solidFill>
        </p:grpSpPr>
        <p:sp>
          <p:nvSpPr>
            <p:cNvPr id="96" name="Freeform 14">
              <a:extLst>
                <a:ext uri="{FF2B5EF4-FFF2-40B4-BE49-F238E27FC236}">
                  <a16:creationId xmlns:a16="http://schemas.microsoft.com/office/drawing/2014/main" id="{BE4362CA-EE80-4F91-8E8D-EEABA6F6D8C3}"/>
                </a:ext>
              </a:extLst>
            </p:cNvPr>
            <p:cNvSpPr>
              <a:spLocks noEditPoints="1"/>
            </p:cNvSpPr>
            <p:nvPr/>
          </p:nvSpPr>
          <p:spPr bwMode="auto">
            <a:xfrm>
              <a:off x="4891088" y="2490788"/>
              <a:ext cx="287338" cy="287338"/>
            </a:xfrm>
            <a:custGeom>
              <a:avLst/>
              <a:gdLst>
                <a:gd name="T0" fmla="*/ 64 w 902"/>
                <a:gd name="T1" fmla="*/ 871 h 902"/>
                <a:gd name="T2" fmla="*/ 43 w 902"/>
                <a:gd name="T3" fmla="*/ 861 h 902"/>
                <a:gd name="T4" fmla="*/ 31 w 902"/>
                <a:gd name="T5" fmla="*/ 839 h 902"/>
                <a:gd name="T6" fmla="*/ 234 w 902"/>
                <a:gd name="T7" fmla="*/ 597 h 902"/>
                <a:gd name="T8" fmla="*/ 246 w 902"/>
                <a:gd name="T9" fmla="*/ 599 h 902"/>
                <a:gd name="T10" fmla="*/ 255 w 902"/>
                <a:gd name="T11" fmla="*/ 593 h 902"/>
                <a:gd name="T12" fmla="*/ 258 w 902"/>
                <a:gd name="T13" fmla="*/ 584 h 902"/>
                <a:gd name="T14" fmla="*/ 255 w 902"/>
                <a:gd name="T15" fmla="*/ 575 h 902"/>
                <a:gd name="T16" fmla="*/ 181 w 902"/>
                <a:gd name="T17" fmla="*/ 524 h 902"/>
                <a:gd name="T18" fmla="*/ 722 w 902"/>
                <a:gd name="T19" fmla="*/ 524 h 902"/>
                <a:gd name="T20" fmla="*/ 647 w 902"/>
                <a:gd name="T21" fmla="*/ 575 h 902"/>
                <a:gd name="T22" fmla="*/ 645 w 902"/>
                <a:gd name="T23" fmla="*/ 584 h 902"/>
                <a:gd name="T24" fmla="*/ 647 w 902"/>
                <a:gd name="T25" fmla="*/ 593 h 902"/>
                <a:gd name="T26" fmla="*/ 657 w 902"/>
                <a:gd name="T27" fmla="*/ 599 h 902"/>
                <a:gd name="T28" fmla="*/ 669 w 902"/>
                <a:gd name="T29" fmla="*/ 597 h 902"/>
                <a:gd name="T30" fmla="*/ 871 w 902"/>
                <a:gd name="T31" fmla="*/ 839 h 902"/>
                <a:gd name="T32" fmla="*/ 861 w 902"/>
                <a:gd name="T33" fmla="*/ 861 h 902"/>
                <a:gd name="T34" fmla="*/ 839 w 902"/>
                <a:gd name="T35" fmla="*/ 871 h 902"/>
                <a:gd name="T36" fmla="*/ 43 w 902"/>
                <a:gd name="T37" fmla="*/ 432 h 902"/>
                <a:gd name="T38" fmla="*/ 861 w 902"/>
                <a:gd name="T39" fmla="*/ 432 h 902"/>
                <a:gd name="T40" fmla="*/ 861 w 902"/>
                <a:gd name="T41" fmla="*/ 432 h 902"/>
                <a:gd name="T42" fmla="*/ 902 w 902"/>
                <a:gd name="T43" fmla="*/ 430 h 902"/>
                <a:gd name="T44" fmla="*/ 900 w 902"/>
                <a:gd name="T45" fmla="*/ 424 h 902"/>
                <a:gd name="T46" fmla="*/ 899 w 902"/>
                <a:gd name="T47" fmla="*/ 423 h 902"/>
                <a:gd name="T48" fmla="*/ 896 w 902"/>
                <a:gd name="T49" fmla="*/ 420 h 902"/>
                <a:gd name="T50" fmla="*/ 752 w 902"/>
                <a:gd name="T51" fmla="*/ 322 h 902"/>
                <a:gd name="T52" fmla="*/ 751 w 902"/>
                <a:gd name="T53" fmla="*/ 9 h 902"/>
                <a:gd name="T54" fmla="*/ 746 w 902"/>
                <a:gd name="T55" fmla="*/ 3 h 902"/>
                <a:gd name="T56" fmla="*/ 737 w 902"/>
                <a:gd name="T57" fmla="*/ 0 h 902"/>
                <a:gd name="T58" fmla="*/ 159 w 902"/>
                <a:gd name="T59" fmla="*/ 1 h 902"/>
                <a:gd name="T60" fmla="*/ 153 w 902"/>
                <a:gd name="T61" fmla="*/ 6 h 902"/>
                <a:gd name="T62" fmla="*/ 151 w 902"/>
                <a:gd name="T63" fmla="*/ 15 h 902"/>
                <a:gd name="T64" fmla="*/ 7 w 902"/>
                <a:gd name="T65" fmla="*/ 420 h 902"/>
                <a:gd name="T66" fmla="*/ 5 w 902"/>
                <a:gd name="T67" fmla="*/ 421 h 902"/>
                <a:gd name="T68" fmla="*/ 3 w 902"/>
                <a:gd name="T69" fmla="*/ 424 h 902"/>
                <a:gd name="T70" fmla="*/ 1 w 902"/>
                <a:gd name="T71" fmla="*/ 426 h 902"/>
                <a:gd name="T72" fmla="*/ 1 w 902"/>
                <a:gd name="T73" fmla="*/ 430 h 902"/>
                <a:gd name="T74" fmla="*/ 0 w 902"/>
                <a:gd name="T75" fmla="*/ 831 h 902"/>
                <a:gd name="T76" fmla="*/ 3 w 902"/>
                <a:gd name="T77" fmla="*/ 852 h 902"/>
                <a:gd name="T78" fmla="*/ 13 w 902"/>
                <a:gd name="T79" fmla="*/ 870 h 902"/>
                <a:gd name="T80" fmla="*/ 26 w 902"/>
                <a:gd name="T81" fmla="*/ 886 h 902"/>
                <a:gd name="T82" fmla="*/ 44 w 902"/>
                <a:gd name="T83" fmla="*/ 897 h 902"/>
                <a:gd name="T84" fmla="*/ 65 w 902"/>
                <a:gd name="T85" fmla="*/ 902 h 902"/>
                <a:gd name="T86" fmla="*/ 838 w 902"/>
                <a:gd name="T87" fmla="*/ 902 h 902"/>
                <a:gd name="T88" fmla="*/ 858 w 902"/>
                <a:gd name="T89" fmla="*/ 897 h 902"/>
                <a:gd name="T90" fmla="*/ 877 w 902"/>
                <a:gd name="T91" fmla="*/ 886 h 902"/>
                <a:gd name="T92" fmla="*/ 891 w 902"/>
                <a:gd name="T93" fmla="*/ 870 h 902"/>
                <a:gd name="T94" fmla="*/ 899 w 902"/>
                <a:gd name="T95" fmla="*/ 852 h 902"/>
                <a:gd name="T96" fmla="*/ 902 w 902"/>
                <a:gd name="T97" fmla="*/ 831 h 902"/>
                <a:gd name="T98" fmla="*/ 902 w 902"/>
                <a:gd name="T99" fmla="*/ 43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902">
                  <a:moveTo>
                    <a:pt x="831" y="872"/>
                  </a:moveTo>
                  <a:lnTo>
                    <a:pt x="71" y="872"/>
                  </a:lnTo>
                  <a:lnTo>
                    <a:pt x="64" y="871"/>
                  </a:lnTo>
                  <a:lnTo>
                    <a:pt x="55" y="869"/>
                  </a:lnTo>
                  <a:lnTo>
                    <a:pt x="49" y="865"/>
                  </a:lnTo>
                  <a:lnTo>
                    <a:pt x="43" y="861"/>
                  </a:lnTo>
                  <a:lnTo>
                    <a:pt x="37" y="854"/>
                  </a:lnTo>
                  <a:lnTo>
                    <a:pt x="33" y="847"/>
                  </a:lnTo>
                  <a:lnTo>
                    <a:pt x="31" y="839"/>
                  </a:lnTo>
                  <a:lnTo>
                    <a:pt x="30" y="831"/>
                  </a:lnTo>
                  <a:lnTo>
                    <a:pt x="30" y="461"/>
                  </a:lnTo>
                  <a:lnTo>
                    <a:pt x="234" y="597"/>
                  </a:lnTo>
                  <a:lnTo>
                    <a:pt x="239" y="598"/>
                  </a:lnTo>
                  <a:lnTo>
                    <a:pt x="243" y="599"/>
                  </a:lnTo>
                  <a:lnTo>
                    <a:pt x="246" y="599"/>
                  </a:lnTo>
                  <a:lnTo>
                    <a:pt x="249" y="597"/>
                  </a:lnTo>
                  <a:lnTo>
                    <a:pt x="253" y="595"/>
                  </a:lnTo>
                  <a:lnTo>
                    <a:pt x="255" y="593"/>
                  </a:lnTo>
                  <a:lnTo>
                    <a:pt x="257" y="589"/>
                  </a:lnTo>
                  <a:lnTo>
                    <a:pt x="257" y="587"/>
                  </a:lnTo>
                  <a:lnTo>
                    <a:pt x="258" y="584"/>
                  </a:lnTo>
                  <a:lnTo>
                    <a:pt x="257" y="581"/>
                  </a:lnTo>
                  <a:lnTo>
                    <a:pt x="257" y="579"/>
                  </a:lnTo>
                  <a:lnTo>
                    <a:pt x="255" y="575"/>
                  </a:lnTo>
                  <a:lnTo>
                    <a:pt x="254" y="573"/>
                  </a:lnTo>
                  <a:lnTo>
                    <a:pt x="251" y="571"/>
                  </a:lnTo>
                  <a:lnTo>
                    <a:pt x="181" y="524"/>
                  </a:lnTo>
                  <a:lnTo>
                    <a:pt x="181" y="30"/>
                  </a:lnTo>
                  <a:lnTo>
                    <a:pt x="722" y="30"/>
                  </a:lnTo>
                  <a:lnTo>
                    <a:pt x="722" y="524"/>
                  </a:lnTo>
                  <a:lnTo>
                    <a:pt x="652" y="571"/>
                  </a:lnTo>
                  <a:lnTo>
                    <a:pt x="649" y="573"/>
                  </a:lnTo>
                  <a:lnTo>
                    <a:pt x="647" y="575"/>
                  </a:lnTo>
                  <a:lnTo>
                    <a:pt x="646" y="579"/>
                  </a:lnTo>
                  <a:lnTo>
                    <a:pt x="645" y="581"/>
                  </a:lnTo>
                  <a:lnTo>
                    <a:pt x="645" y="584"/>
                  </a:lnTo>
                  <a:lnTo>
                    <a:pt x="645" y="587"/>
                  </a:lnTo>
                  <a:lnTo>
                    <a:pt x="646" y="589"/>
                  </a:lnTo>
                  <a:lnTo>
                    <a:pt x="647" y="593"/>
                  </a:lnTo>
                  <a:lnTo>
                    <a:pt x="650" y="595"/>
                  </a:lnTo>
                  <a:lnTo>
                    <a:pt x="653" y="597"/>
                  </a:lnTo>
                  <a:lnTo>
                    <a:pt x="657" y="599"/>
                  </a:lnTo>
                  <a:lnTo>
                    <a:pt x="660" y="599"/>
                  </a:lnTo>
                  <a:lnTo>
                    <a:pt x="664" y="598"/>
                  </a:lnTo>
                  <a:lnTo>
                    <a:pt x="669" y="597"/>
                  </a:lnTo>
                  <a:lnTo>
                    <a:pt x="872" y="461"/>
                  </a:lnTo>
                  <a:lnTo>
                    <a:pt x="872" y="831"/>
                  </a:lnTo>
                  <a:lnTo>
                    <a:pt x="871" y="839"/>
                  </a:lnTo>
                  <a:lnTo>
                    <a:pt x="869" y="847"/>
                  </a:lnTo>
                  <a:lnTo>
                    <a:pt x="865" y="854"/>
                  </a:lnTo>
                  <a:lnTo>
                    <a:pt x="861" y="861"/>
                  </a:lnTo>
                  <a:lnTo>
                    <a:pt x="854" y="865"/>
                  </a:lnTo>
                  <a:lnTo>
                    <a:pt x="847" y="869"/>
                  </a:lnTo>
                  <a:lnTo>
                    <a:pt x="839" y="871"/>
                  </a:lnTo>
                  <a:lnTo>
                    <a:pt x="831" y="872"/>
                  </a:lnTo>
                  <a:close/>
                  <a:moveTo>
                    <a:pt x="151" y="505"/>
                  </a:moveTo>
                  <a:lnTo>
                    <a:pt x="43" y="432"/>
                  </a:lnTo>
                  <a:lnTo>
                    <a:pt x="151" y="359"/>
                  </a:lnTo>
                  <a:lnTo>
                    <a:pt x="151" y="505"/>
                  </a:lnTo>
                  <a:close/>
                  <a:moveTo>
                    <a:pt x="861" y="432"/>
                  </a:moveTo>
                  <a:lnTo>
                    <a:pt x="752" y="505"/>
                  </a:lnTo>
                  <a:lnTo>
                    <a:pt x="752" y="359"/>
                  </a:lnTo>
                  <a:lnTo>
                    <a:pt x="861" y="432"/>
                  </a:lnTo>
                  <a:close/>
                  <a:moveTo>
                    <a:pt x="902" y="430"/>
                  </a:moveTo>
                  <a:lnTo>
                    <a:pt x="902" y="430"/>
                  </a:lnTo>
                  <a:lnTo>
                    <a:pt x="902" y="430"/>
                  </a:lnTo>
                  <a:lnTo>
                    <a:pt x="901" y="426"/>
                  </a:lnTo>
                  <a:lnTo>
                    <a:pt x="900" y="424"/>
                  </a:lnTo>
                  <a:lnTo>
                    <a:pt x="900" y="424"/>
                  </a:lnTo>
                  <a:lnTo>
                    <a:pt x="900" y="424"/>
                  </a:lnTo>
                  <a:lnTo>
                    <a:pt x="900" y="423"/>
                  </a:lnTo>
                  <a:lnTo>
                    <a:pt x="899" y="423"/>
                  </a:lnTo>
                  <a:lnTo>
                    <a:pt x="898" y="421"/>
                  </a:lnTo>
                  <a:lnTo>
                    <a:pt x="896" y="420"/>
                  </a:lnTo>
                  <a:lnTo>
                    <a:pt x="896" y="420"/>
                  </a:lnTo>
                  <a:lnTo>
                    <a:pt x="896" y="420"/>
                  </a:lnTo>
                  <a:lnTo>
                    <a:pt x="896" y="420"/>
                  </a:lnTo>
                  <a:lnTo>
                    <a:pt x="752" y="322"/>
                  </a:lnTo>
                  <a:lnTo>
                    <a:pt x="752" y="15"/>
                  </a:lnTo>
                  <a:lnTo>
                    <a:pt x="752" y="11"/>
                  </a:lnTo>
                  <a:lnTo>
                    <a:pt x="751" y="9"/>
                  </a:lnTo>
                  <a:lnTo>
                    <a:pt x="749" y="6"/>
                  </a:lnTo>
                  <a:lnTo>
                    <a:pt x="748" y="4"/>
                  </a:lnTo>
                  <a:lnTo>
                    <a:pt x="746" y="3"/>
                  </a:lnTo>
                  <a:lnTo>
                    <a:pt x="743" y="1"/>
                  </a:lnTo>
                  <a:lnTo>
                    <a:pt x="741" y="0"/>
                  </a:lnTo>
                  <a:lnTo>
                    <a:pt x="737" y="0"/>
                  </a:lnTo>
                  <a:lnTo>
                    <a:pt x="166" y="0"/>
                  </a:lnTo>
                  <a:lnTo>
                    <a:pt x="163" y="0"/>
                  </a:lnTo>
                  <a:lnTo>
                    <a:pt x="159" y="1"/>
                  </a:lnTo>
                  <a:lnTo>
                    <a:pt x="157" y="3"/>
                  </a:lnTo>
                  <a:lnTo>
                    <a:pt x="155" y="4"/>
                  </a:lnTo>
                  <a:lnTo>
                    <a:pt x="153" y="6"/>
                  </a:lnTo>
                  <a:lnTo>
                    <a:pt x="152" y="9"/>
                  </a:lnTo>
                  <a:lnTo>
                    <a:pt x="151" y="11"/>
                  </a:lnTo>
                  <a:lnTo>
                    <a:pt x="151" y="15"/>
                  </a:lnTo>
                  <a:lnTo>
                    <a:pt x="151" y="322"/>
                  </a:lnTo>
                  <a:lnTo>
                    <a:pt x="7" y="420"/>
                  </a:lnTo>
                  <a:lnTo>
                    <a:pt x="7" y="420"/>
                  </a:lnTo>
                  <a:lnTo>
                    <a:pt x="7" y="420"/>
                  </a:lnTo>
                  <a:lnTo>
                    <a:pt x="6" y="420"/>
                  </a:lnTo>
                  <a:lnTo>
                    <a:pt x="5" y="421"/>
                  </a:lnTo>
                  <a:lnTo>
                    <a:pt x="3" y="423"/>
                  </a:lnTo>
                  <a:lnTo>
                    <a:pt x="3" y="423"/>
                  </a:lnTo>
                  <a:lnTo>
                    <a:pt x="3" y="424"/>
                  </a:lnTo>
                  <a:lnTo>
                    <a:pt x="3" y="424"/>
                  </a:lnTo>
                  <a:lnTo>
                    <a:pt x="2" y="424"/>
                  </a:lnTo>
                  <a:lnTo>
                    <a:pt x="1" y="426"/>
                  </a:lnTo>
                  <a:lnTo>
                    <a:pt x="1" y="430"/>
                  </a:lnTo>
                  <a:lnTo>
                    <a:pt x="1" y="430"/>
                  </a:lnTo>
                  <a:lnTo>
                    <a:pt x="1" y="430"/>
                  </a:lnTo>
                  <a:lnTo>
                    <a:pt x="0" y="431"/>
                  </a:lnTo>
                  <a:lnTo>
                    <a:pt x="0" y="432"/>
                  </a:lnTo>
                  <a:lnTo>
                    <a:pt x="0" y="831"/>
                  </a:lnTo>
                  <a:lnTo>
                    <a:pt x="1" y="838"/>
                  </a:lnTo>
                  <a:lnTo>
                    <a:pt x="2" y="845"/>
                  </a:lnTo>
                  <a:lnTo>
                    <a:pt x="3" y="852"/>
                  </a:lnTo>
                  <a:lnTo>
                    <a:pt x="6" y="858"/>
                  </a:lnTo>
                  <a:lnTo>
                    <a:pt x="8" y="865"/>
                  </a:lnTo>
                  <a:lnTo>
                    <a:pt x="13" y="870"/>
                  </a:lnTo>
                  <a:lnTo>
                    <a:pt x="17" y="877"/>
                  </a:lnTo>
                  <a:lnTo>
                    <a:pt x="21" y="881"/>
                  </a:lnTo>
                  <a:lnTo>
                    <a:pt x="26" y="886"/>
                  </a:lnTo>
                  <a:lnTo>
                    <a:pt x="32" y="891"/>
                  </a:lnTo>
                  <a:lnTo>
                    <a:pt x="37" y="894"/>
                  </a:lnTo>
                  <a:lnTo>
                    <a:pt x="44" y="897"/>
                  </a:lnTo>
                  <a:lnTo>
                    <a:pt x="50" y="899"/>
                  </a:lnTo>
                  <a:lnTo>
                    <a:pt x="58" y="901"/>
                  </a:lnTo>
                  <a:lnTo>
                    <a:pt x="65" y="902"/>
                  </a:lnTo>
                  <a:lnTo>
                    <a:pt x="71" y="902"/>
                  </a:lnTo>
                  <a:lnTo>
                    <a:pt x="831" y="902"/>
                  </a:lnTo>
                  <a:lnTo>
                    <a:pt x="838" y="902"/>
                  </a:lnTo>
                  <a:lnTo>
                    <a:pt x="846" y="901"/>
                  </a:lnTo>
                  <a:lnTo>
                    <a:pt x="852" y="899"/>
                  </a:lnTo>
                  <a:lnTo>
                    <a:pt x="858" y="897"/>
                  </a:lnTo>
                  <a:lnTo>
                    <a:pt x="865" y="894"/>
                  </a:lnTo>
                  <a:lnTo>
                    <a:pt x="871" y="891"/>
                  </a:lnTo>
                  <a:lnTo>
                    <a:pt x="877" y="886"/>
                  </a:lnTo>
                  <a:lnTo>
                    <a:pt x="881" y="881"/>
                  </a:lnTo>
                  <a:lnTo>
                    <a:pt x="886" y="877"/>
                  </a:lnTo>
                  <a:lnTo>
                    <a:pt x="891" y="870"/>
                  </a:lnTo>
                  <a:lnTo>
                    <a:pt x="894" y="865"/>
                  </a:lnTo>
                  <a:lnTo>
                    <a:pt x="897" y="858"/>
                  </a:lnTo>
                  <a:lnTo>
                    <a:pt x="899" y="852"/>
                  </a:lnTo>
                  <a:lnTo>
                    <a:pt x="901" y="846"/>
                  </a:lnTo>
                  <a:lnTo>
                    <a:pt x="902" y="838"/>
                  </a:lnTo>
                  <a:lnTo>
                    <a:pt x="902" y="831"/>
                  </a:lnTo>
                  <a:lnTo>
                    <a:pt x="902" y="432"/>
                  </a:lnTo>
                  <a:lnTo>
                    <a:pt x="902" y="431"/>
                  </a:lnTo>
                  <a:lnTo>
                    <a:pt x="902"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5">
              <a:extLst>
                <a:ext uri="{FF2B5EF4-FFF2-40B4-BE49-F238E27FC236}">
                  <a16:creationId xmlns:a16="http://schemas.microsoft.com/office/drawing/2014/main" id="{4299D5F7-D26B-4F74-963B-B359FB683894}"/>
                </a:ext>
              </a:extLst>
            </p:cNvPr>
            <p:cNvSpPr>
              <a:spLocks/>
            </p:cNvSpPr>
            <p:nvPr/>
          </p:nvSpPr>
          <p:spPr bwMode="auto">
            <a:xfrm>
              <a:off x="4926013" y="2682875"/>
              <a:ext cx="219075" cy="61913"/>
            </a:xfrm>
            <a:custGeom>
              <a:avLst/>
              <a:gdLst>
                <a:gd name="T0" fmla="*/ 491 w 691"/>
                <a:gd name="T1" fmla="*/ 4 h 196"/>
                <a:gd name="T2" fmla="*/ 486 w 691"/>
                <a:gd name="T3" fmla="*/ 1 h 196"/>
                <a:gd name="T4" fmla="*/ 481 w 691"/>
                <a:gd name="T5" fmla="*/ 0 h 196"/>
                <a:gd name="T6" fmla="*/ 210 w 691"/>
                <a:gd name="T7" fmla="*/ 0 h 196"/>
                <a:gd name="T8" fmla="*/ 205 w 691"/>
                <a:gd name="T9" fmla="*/ 1 h 196"/>
                <a:gd name="T10" fmla="*/ 200 w 691"/>
                <a:gd name="T11" fmla="*/ 4 h 196"/>
                <a:gd name="T12" fmla="*/ 4 w 691"/>
                <a:gd name="T13" fmla="*/ 170 h 196"/>
                <a:gd name="T14" fmla="*/ 2 w 691"/>
                <a:gd name="T15" fmla="*/ 172 h 196"/>
                <a:gd name="T16" fmla="*/ 1 w 691"/>
                <a:gd name="T17" fmla="*/ 174 h 196"/>
                <a:gd name="T18" fmla="*/ 0 w 691"/>
                <a:gd name="T19" fmla="*/ 177 h 196"/>
                <a:gd name="T20" fmla="*/ 0 w 691"/>
                <a:gd name="T21" fmla="*/ 180 h 196"/>
                <a:gd name="T22" fmla="*/ 0 w 691"/>
                <a:gd name="T23" fmla="*/ 182 h 196"/>
                <a:gd name="T24" fmla="*/ 0 w 691"/>
                <a:gd name="T25" fmla="*/ 186 h 196"/>
                <a:gd name="T26" fmla="*/ 1 w 691"/>
                <a:gd name="T27" fmla="*/ 189 h 196"/>
                <a:gd name="T28" fmla="*/ 3 w 691"/>
                <a:gd name="T29" fmla="*/ 191 h 196"/>
                <a:gd name="T30" fmla="*/ 5 w 691"/>
                <a:gd name="T31" fmla="*/ 193 h 196"/>
                <a:gd name="T32" fmla="*/ 7 w 691"/>
                <a:gd name="T33" fmla="*/ 194 h 196"/>
                <a:gd name="T34" fmla="*/ 11 w 691"/>
                <a:gd name="T35" fmla="*/ 195 h 196"/>
                <a:gd name="T36" fmla="*/ 13 w 691"/>
                <a:gd name="T37" fmla="*/ 196 h 196"/>
                <a:gd name="T38" fmla="*/ 16 w 691"/>
                <a:gd name="T39" fmla="*/ 196 h 196"/>
                <a:gd name="T40" fmla="*/ 19 w 691"/>
                <a:gd name="T41" fmla="*/ 195 h 196"/>
                <a:gd name="T42" fmla="*/ 21 w 691"/>
                <a:gd name="T43" fmla="*/ 194 h 196"/>
                <a:gd name="T44" fmla="*/ 24 w 691"/>
                <a:gd name="T45" fmla="*/ 193 h 196"/>
                <a:gd name="T46" fmla="*/ 215 w 691"/>
                <a:gd name="T47" fmla="*/ 31 h 196"/>
                <a:gd name="T48" fmla="*/ 475 w 691"/>
                <a:gd name="T49" fmla="*/ 31 h 196"/>
                <a:gd name="T50" fmla="*/ 667 w 691"/>
                <a:gd name="T51" fmla="*/ 193 h 196"/>
                <a:gd name="T52" fmla="*/ 671 w 691"/>
                <a:gd name="T53" fmla="*/ 195 h 196"/>
                <a:gd name="T54" fmla="*/ 676 w 691"/>
                <a:gd name="T55" fmla="*/ 196 h 196"/>
                <a:gd name="T56" fmla="*/ 680 w 691"/>
                <a:gd name="T57" fmla="*/ 196 h 196"/>
                <a:gd name="T58" fmla="*/ 683 w 691"/>
                <a:gd name="T59" fmla="*/ 195 h 196"/>
                <a:gd name="T60" fmla="*/ 685 w 691"/>
                <a:gd name="T61" fmla="*/ 193 h 196"/>
                <a:gd name="T62" fmla="*/ 688 w 691"/>
                <a:gd name="T63" fmla="*/ 191 h 196"/>
                <a:gd name="T64" fmla="*/ 689 w 691"/>
                <a:gd name="T65" fmla="*/ 189 h 196"/>
                <a:gd name="T66" fmla="*/ 690 w 691"/>
                <a:gd name="T67" fmla="*/ 186 h 196"/>
                <a:gd name="T68" fmla="*/ 691 w 691"/>
                <a:gd name="T69" fmla="*/ 182 h 196"/>
                <a:gd name="T70" fmla="*/ 691 w 691"/>
                <a:gd name="T71" fmla="*/ 180 h 196"/>
                <a:gd name="T72" fmla="*/ 690 w 691"/>
                <a:gd name="T73" fmla="*/ 177 h 196"/>
                <a:gd name="T74" fmla="*/ 689 w 691"/>
                <a:gd name="T75" fmla="*/ 174 h 196"/>
                <a:gd name="T76" fmla="*/ 688 w 691"/>
                <a:gd name="T77" fmla="*/ 172 h 196"/>
                <a:gd name="T78" fmla="*/ 686 w 691"/>
                <a:gd name="T79" fmla="*/ 170 h 196"/>
                <a:gd name="T80" fmla="*/ 491 w 691"/>
                <a:gd name="T8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1" h="196">
                  <a:moveTo>
                    <a:pt x="491" y="4"/>
                  </a:moveTo>
                  <a:lnTo>
                    <a:pt x="486" y="1"/>
                  </a:lnTo>
                  <a:lnTo>
                    <a:pt x="481" y="0"/>
                  </a:lnTo>
                  <a:lnTo>
                    <a:pt x="210" y="0"/>
                  </a:lnTo>
                  <a:lnTo>
                    <a:pt x="205" y="1"/>
                  </a:lnTo>
                  <a:lnTo>
                    <a:pt x="200" y="4"/>
                  </a:lnTo>
                  <a:lnTo>
                    <a:pt x="4" y="170"/>
                  </a:lnTo>
                  <a:lnTo>
                    <a:pt x="2" y="172"/>
                  </a:lnTo>
                  <a:lnTo>
                    <a:pt x="1" y="174"/>
                  </a:lnTo>
                  <a:lnTo>
                    <a:pt x="0" y="177"/>
                  </a:lnTo>
                  <a:lnTo>
                    <a:pt x="0" y="180"/>
                  </a:lnTo>
                  <a:lnTo>
                    <a:pt x="0" y="182"/>
                  </a:lnTo>
                  <a:lnTo>
                    <a:pt x="0" y="186"/>
                  </a:lnTo>
                  <a:lnTo>
                    <a:pt x="1" y="189"/>
                  </a:lnTo>
                  <a:lnTo>
                    <a:pt x="3" y="191"/>
                  </a:lnTo>
                  <a:lnTo>
                    <a:pt x="5" y="193"/>
                  </a:lnTo>
                  <a:lnTo>
                    <a:pt x="7" y="194"/>
                  </a:lnTo>
                  <a:lnTo>
                    <a:pt x="11" y="195"/>
                  </a:lnTo>
                  <a:lnTo>
                    <a:pt x="13" y="196"/>
                  </a:lnTo>
                  <a:lnTo>
                    <a:pt x="16" y="196"/>
                  </a:lnTo>
                  <a:lnTo>
                    <a:pt x="19" y="195"/>
                  </a:lnTo>
                  <a:lnTo>
                    <a:pt x="21" y="194"/>
                  </a:lnTo>
                  <a:lnTo>
                    <a:pt x="24" y="193"/>
                  </a:lnTo>
                  <a:lnTo>
                    <a:pt x="215" y="31"/>
                  </a:lnTo>
                  <a:lnTo>
                    <a:pt x="475" y="31"/>
                  </a:lnTo>
                  <a:lnTo>
                    <a:pt x="667" y="193"/>
                  </a:lnTo>
                  <a:lnTo>
                    <a:pt x="671" y="195"/>
                  </a:lnTo>
                  <a:lnTo>
                    <a:pt x="676" y="196"/>
                  </a:lnTo>
                  <a:lnTo>
                    <a:pt x="680" y="196"/>
                  </a:lnTo>
                  <a:lnTo>
                    <a:pt x="683" y="195"/>
                  </a:lnTo>
                  <a:lnTo>
                    <a:pt x="685" y="193"/>
                  </a:lnTo>
                  <a:lnTo>
                    <a:pt x="688" y="191"/>
                  </a:lnTo>
                  <a:lnTo>
                    <a:pt x="689" y="189"/>
                  </a:lnTo>
                  <a:lnTo>
                    <a:pt x="690" y="186"/>
                  </a:lnTo>
                  <a:lnTo>
                    <a:pt x="691" y="182"/>
                  </a:lnTo>
                  <a:lnTo>
                    <a:pt x="691" y="180"/>
                  </a:lnTo>
                  <a:lnTo>
                    <a:pt x="690" y="177"/>
                  </a:lnTo>
                  <a:lnTo>
                    <a:pt x="689" y="174"/>
                  </a:lnTo>
                  <a:lnTo>
                    <a:pt x="688" y="172"/>
                  </a:lnTo>
                  <a:lnTo>
                    <a:pt x="686" y="170"/>
                  </a:lnTo>
                  <a:lnTo>
                    <a:pt x="49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6">
              <a:extLst>
                <a:ext uri="{FF2B5EF4-FFF2-40B4-BE49-F238E27FC236}">
                  <a16:creationId xmlns:a16="http://schemas.microsoft.com/office/drawing/2014/main" id="{56187A95-6554-4558-9326-D636CCD9E8D0}"/>
                </a:ext>
              </a:extLst>
            </p:cNvPr>
            <p:cNvSpPr>
              <a:spLocks/>
            </p:cNvSpPr>
            <p:nvPr/>
          </p:nvSpPr>
          <p:spPr bwMode="auto">
            <a:xfrm>
              <a:off x="4978400" y="2528888"/>
              <a:ext cx="33338" cy="11113"/>
            </a:xfrm>
            <a:custGeom>
              <a:avLst/>
              <a:gdLst>
                <a:gd name="T0" fmla="*/ 15 w 105"/>
                <a:gd name="T1" fmla="*/ 31 h 31"/>
                <a:gd name="T2" fmla="*/ 90 w 105"/>
                <a:gd name="T3" fmla="*/ 31 h 31"/>
                <a:gd name="T4" fmla="*/ 93 w 105"/>
                <a:gd name="T5" fmla="*/ 30 h 31"/>
                <a:gd name="T6" fmla="*/ 95 w 105"/>
                <a:gd name="T7" fmla="*/ 29 h 31"/>
                <a:gd name="T8" fmla="*/ 99 w 105"/>
                <a:gd name="T9" fmla="*/ 28 h 31"/>
                <a:gd name="T10" fmla="*/ 101 w 105"/>
                <a:gd name="T11" fmla="*/ 25 h 31"/>
                <a:gd name="T12" fmla="*/ 103 w 105"/>
                <a:gd name="T13" fmla="*/ 23 h 31"/>
                <a:gd name="T14" fmla="*/ 104 w 105"/>
                <a:gd name="T15" fmla="*/ 21 h 31"/>
                <a:gd name="T16" fmla="*/ 105 w 105"/>
                <a:gd name="T17" fmla="*/ 18 h 31"/>
                <a:gd name="T18" fmla="*/ 105 w 105"/>
                <a:gd name="T19" fmla="*/ 15 h 31"/>
                <a:gd name="T20" fmla="*/ 105 w 105"/>
                <a:gd name="T21" fmla="*/ 13 h 31"/>
                <a:gd name="T22" fmla="*/ 104 w 105"/>
                <a:gd name="T23" fmla="*/ 9 h 31"/>
                <a:gd name="T24" fmla="*/ 103 w 105"/>
                <a:gd name="T25" fmla="*/ 7 h 31"/>
                <a:gd name="T26" fmla="*/ 101 w 105"/>
                <a:gd name="T27" fmla="*/ 5 h 31"/>
                <a:gd name="T28" fmla="*/ 99 w 105"/>
                <a:gd name="T29" fmla="*/ 3 h 31"/>
                <a:gd name="T30" fmla="*/ 95 w 105"/>
                <a:gd name="T31" fmla="*/ 2 h 31"/>
                <a:gd name="T32" fmla="*/ 93 w 105"/>
                <a:gd name="T33" fmla="*/ 1 h 31"/>
                <a:gd name="T34" fmla="*/ 90 w 105"/>
                <a:gd name="T35" fmla="*/ 0 h 31"/>
                <a:gd name="T36" fmla="*/ 15 w 105"/>
                <a:gd name="T37" fmla="*/ 0 h 31"/>
                <a:gd name="T38" fmla="*/ 12 w 105"/>
                <a:gd name="T39" fmla="*/ 1 h 31"/>
                <a:gd name="T40" fmla="*/ 8 w 105"/>
                <a:gd name="T41" fmla="*/ 2 h 31"/>
                <a:gd name="T42" fmla="*/ 6 w 105"/>
                <a:gd name="T43" fmla="*/ 3 h 31"/>
                <a:gd name="T44" fmla="*/ 4 w 105"/>
                <a:gd name="T45" fmla="*/ 5 h 31"/>
                <a:gd name="T46" fmla="*/ 2 w 105"/>
                <a:gd name="T47" fmla="*/ 7 h 31"/>
                <a:gd name="T48" fmla="*/ 1 w 105"/>
                <a:gd name="T49" fmla="*/ 9 h 31"/>
                <a:gd name="T50" fmla="*/ 0 w 105"/>
                <a:gd name="T51" fmla="*/ 13 h 31"/>
                <a:gd name="T52" fmla="*/ 0 w 105"/>
                <a:gd name="T53" fmla="*/ 15 h 31"/>
                <a:gd name="T54" fmla="*/ 0 w 105"/>
                <a:gd name="T55" fmla="*/ 18 h 31"/>
                <a:gd name="T56" fmla="*/ 1 w 105"/>
                <a:gd name="T57" fmla="*/ 21 h 31"/>
                <a:gd name="T58" fmla="*/ 2 w 105"/>
                <a:gd name="T59" fmla="*/ 23 h 31"/>
                <a:gd name="T60" fmla="*/ 4 w 105"/>
                <a:gd name="T61" fmla="*/ 25 h 31"/>
                <a:gd name="T62" fmla="*/ 6 w 105"/>
                <a:gd name="T63" fmla="*/ 28 h 31"/>
                <a:gd name="T64" fmla="*/ 8 w 105"/>
                <a:gd name="T65" fmla="*/ 29 h 31"/>
                <a:gd name="T66" fmla="*/ 12 w 105"/>
                <a:gd name="T67" fmla="*/ 30 h 31"/>
                <a:gd name="T68" fmla="*/ 15 w 105"/>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1">
                  <a:moveTo>
                    <a:pt x="15" y="31"/>
                  </a:moveTo>
                  <a:lnTo>
                    <a:pt x="90" y="31"/>
                  </a:lnTo>
                  <a:lnTo>
                    <a:pt x="93" y="30"/>
                  </a:lnTo>
                  <a:lnTo>
                    <a:pt x="95" y="29"/>
                  </a:lnTo>
                  <a:lnTo>
                    <a:pt x="99" y="28"/>
                  </a:lnTo>
                  <a:lnTo>
                    <a:pt x="101" y="25"/>
                  </a:lnTo>
                  <a:lnTo>
                    <a:pt x="103" y="23"/>
                  </a:lnTo>
                  <a:lnTo>
                    <a:pt x="104" y="21"/>
                  </a:lnTo>
                  <a:lnTo>
                    <a:pt x="105" y="18"/>
                  </a:lnTo>
                  <a:lnTo>
                    <a:pt x="105" y="15"/>
                  </a:lnTo>
                  <a:lnTo>
                    <a:pt x="105" y="13"/>
                  </a:lnTo>
                  <a:lnTo>
                    <a:pt x="104" y="9"/>
                  </a:lnTo>
                  <a:lnTo>
                    <a:pt x="103" y="7"/>
                  </a:lnTo>
                  <a:lnTo>
                    <a:pt x="101" y="5"/>
                  </a:lnTo>
                  <a:lnTo>
                    <a:pt x="99" y="3"/>
                  </a:lnTo>
                  <a:lnTo>
                    <a:pt x="95" y="2"/>
                  </a:lnTo>
                  <a:lnTo>
                    <a:pt x="93" y="1"/>
                  </a:lnTo>
                  <a:lnTo>
                    <a:pt x="90" y="0"/>
                  </a:lnTo>
                  <a:lnTo>
                    <a:pt x="15" y="0"/>
                  </a:lnTo>
                  <a:lnTo>
                    <a:pt x="12" y="1"/>
                  </a:lnTo>
                  <a:lnTo>
                    <a:pt x="8" y="2"/>
                  </a:lnTo>
                  <a:lnTo>
                    <a:pt x="6" y="3"/>
                  </a:lnTo>
                  <a:lnTo>
                    <a:pt x="4" y="5"/>
                  </a:lnTo>
                  <a:lnTo>
                    <a:pt x="2" y="7"/>
                  </a:lnTo>
                  <a:lnTo>
                    <a:pt x="1" y="9"/>
                  </a:lnTo>
                  <a:lnTo>
                    <a:pt x="0" y="13"/>
                  </a:lnTo>
                  <a:lnTo>
                    <a:pt x="0" y="15"/>
                  </a:lnTo>
                  <a:lnTo>
                    <a:pt x="0" y="18"/>
                  </a:lnTo>
                  <a:lnTo>
                    <a:pt x="1" y="21"/>
                  </a:lnTo>
                  <a:lnTo>
                    <a:pt x="2" y="23"/>
                  </a:lnTo>
                  <a:lnTo>
                    <a:pt x="4" y="25"/>
                  </a:lnTo>
                  <a:lnTo>
                    <a:pt x="6" y="28"/>
                  </a:lnTo>
                  <a:lnTo>
                    <a:pt x="8" y="29"/>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7">
              <a:extLst>
                <a:ext uri="{FF2B5EF4-FFF2-40B4-BE49-F238E27FC236}">
                  <a16:creationId xmlns:a16="http://schemas.microsoft.com/office/drawing/2014/main" id="{CB2E1602-92F8-46F6-96FA-90321EE0C082}"/>
                </a:ext>
              </a:extLst>
            </p:cNvPr>
            <p:cNvSpPr>
              <a:spLocks/>
            </p:cNvSpPr>
            <p:nvPr/>
          </p:nvSpPr>
          <p:spPr bwMode="auto">
            <a:xfrm>
              <a:off x="5002213" y="2559050"/>
              <a:ext cx="90488" cy="9525"/>
            </a:xfrm>
            <a:custGeom>
              <a:avLst/>
              <a:gdLst>
                <a:gd name="T0" fmla="*/ 0 w 286"/>
                <a:gd name="T1" fmla="*/ 15 h 30"/>
                <a:gd name="T2" fmla="*/ 0 w 286"/>
                <a:gd name="T3" fmla="*/ 17 h 30"/>
                <a:gd name="T4" fmla="*/ 1 w 286"/>
                <a:gd name="T5" fmla="*/ 20 h 30"/>
                <a:gd name="T6" fmla="*/ 2 w 286"/>
                <a:gd name="T7" fmla="*/ 22 h 30"/>
                <a:gd name="T8" fmla="*/ 4 w 286"/>
                <a:gd name="T9" fmla="*/ 26 h 30"/>
                <a:gd name="T10" fmla="*/ 6 w 286"/>
                <a:gd name="T11" fmla="*/ 27 h 30"/>
                <a:gd name="T12" fmla="*/ 10 w 286"/>
                <a:gd name="T13" fmla="*/ 29 h 30"/>
                <a:gd name="T14" fmla="*/ 12 w 286"/>
                <a:gd name="T15" fmla="*/ 29 h 30"/>
                <a:gd name="T16" fmla="*/ 15 w 286"/>
                <a:gd name="T17" fmla="*/ 30 h 30"/>
                <a:gd name="T18" fmla="*/ 271 w 286"/>
                <a:gd name="T19" fmla="*/ 30 h 30"/>
                <a:gd name="T20" fmla="*/ 273 w 286"/>
                <a:gd name="T21" fmla="*/ 29 h 30"/>
                <a:gd name="T22" fmla="*/ 277 w 286"/>
                <a:gd name="T23" fmla="*/ 29 h 30"/>
                <a:gd name="T24" fmla="*/ 279 w 286"/>
                <a:gd name="T25" fmla="*/ 27 h 30"/>
                <a:gd name="T26" fmla="*/ 281 w 286"/>
                <a:gd name="T27" fmla="*/ 26 h 30"/>
                <a:gd name="T28" fmla="*/ 283 w 286"/>
                <a:gd name="T29" fmla="*/ 22 h 30"/>
                <a:gd name="T30" fmla="*/ 285 w 286"/>
                <a:gd name="T31" fmla="*/ 20 h 30"/>
                <a:gd name="T32" fmla="*/ 285 w 286"/>
                <a:gd name="T33" fmla="*/ 17 h 30"/>
                <a:gd name="T34" fmla="*/ 286 w 286"/>
                <a:gd name="T35" fmla="*/ 15 h 30"/>
                <a:gd name="T36" fmla="*/ 285 w 286"/>
                <a:gd name="T37" fmla="*/ 12 h 30"/>
                <a:gd name="T38" fmla="*/ 285 w 286"/>
                <a:gd name="T39" fmla="*/ 8 h 30"/>
                <a:gd name="T40" fmla="*/ 283 w 286"/>
                <a:gd name="T41" fmla="*/ 6 h 30"/>
                <a:gd name="T42" fmla="*/ 281 w 286"/>
                <a:gd name="T43" fmla="*/ 4 h 30"/>
                <a:gd name="T44" fmla="*/ 279 w 286"/>
                <a:gd name="T45" fmla="*/ 2 h 30"/>
                <a:gd name="T46" fmla="*/ 277 w 286"/>
                <a:gd name="T47" fmla="*/ 1 h 30"/>
                <a:gd name="T48" fmla="*/ 273 w 286"/>
                <a:gd name="T49" fmla="*/ 0 h 30"/>
                <a:gd name="T50" fmla="*/ 271 w 286"/>
                <a:gd name="T51" fmla="*/ 0 h 30"/>
                <a:gd name="T52" fmla="*/ 15 w 286"/>
                <a:gd name="T53" fmla="*/ 0 h 30"/>
                <a:gd name="T54" fmla="*/ 12 w 286"/>
                <a:gd name="T55" fmla="*/ 0 h 30"/>
                <a:gd name="T56" fmla="*/ 10 w 286"/>
                <a:gd name="T57" fmla="*/ 1 h 30"/>
                <a:gd name="T58" fmla="*/ 6 w 286"/>
                <a:gd name="T59" fmla="*/ 2 h 30"/>
                <a:gd name="T60" fmla="*/ 4 w 286"/>
                <a:gd name="T61" fmla="*/ 4 h 30"/>
                <a:gd name="T62" fmla="*/ 2 w 286"/>
                <a:gd name="T63" fmla="*/ 6 h 30"/>
                <a:gd name="T64" fmla="*/ 1 w 286"/>
                <a:gd name="T65" fmla="*/ 8 h 30"/>
                <a:gd name="T66" fmla="*/ 0 w 286"/>
                <a:gd name="T67" fmla="*/ 12 h 30"/>
                <a:gd name="T68" fmla="*/ 0 w 286"/>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0">
                  <a:moveTo>
                    <a:pt x="0" y="15"/>
                  </a:moveTo>
                  <a:lnTo>
                    <a:pt x="0" y="17"/>
                  </a:lnTo>
                  <a:lnTo>
                    <a:pt x="1" y="20"/>
                  </a:lnTo>
                  <a:lnTo>
                    <a:pt x="2" y="22"/>
                  </a:lnTo>
                  <a:lnTo>
                    <a:pt x="4" y="26"/>
                  </a:lnTo>
                  <a:lnTo>
                    <a:pt x="6" y="27"/>
                  </a:lnTo>
                  <a:lnTo>
                    <a:pt x="10" y="29"/>
                  </a:lnTo>
                  <a:lnTo>
                    <a:pt x="12" y="29"/>
                  </a:lnTo>
                  <a:lnTo>
                    <a:pt x="15" y="30"/>
                  </a:lnTo>
                  <a:lnTo>
                    <a:pt x="271" y="30"/>
                  </a:lnTo>
                  <a:lnTo>
                    <a:pt x="273" y="29"/>
                  </a:lnTo>
                  <a:lnTo>
                    <a:pt x="277" y="29"/>
                  </a:lnTo>
                  <a:lnTo>
                    <a:pt x="279" y="27"/>
                  </a:lnTo>
                  <a:lnTo>
                    <a:pt x="281" y="26"/>
                  </a:lnTo>
                  <a:lnTo>
                    <a:pt x="283" y="22"/>
                  </a:lnTo>
                  <a:lnTo>
                    <a:pt x="285" y="20"/>
                  </a:lnTo>
                  <a:lnTo>
                    <a:pt x="285" y="17"/>
                  </a:lnTo>
                  <a:lnTo>
                    <a:pt x="286" y="15"/>
                  </a:lnTo>
                  <a:lnTo>
                    <a:pt x="285" y="12"/>
                  </a:lnTo>
                  <a:lnTo>
                    <a:pt x="285" y="8"/>
                  </a:lnTo>
                  <a:lnTo>
                    <a:pt x="283" y="6"/>
                  </a:lnTo>
                  <a:lnTo>
                    <a:pt x="281" y="4"/>
                  </a:lnTo>
                  <a:lnTo>
                    <a:pt x="279" y="2"/>
                  </a:lnTo>
                  <a:lnTo>
                    <a:pt x="277" y="1"/>
                  </a:lnTo>
                  <a:lnTo>
                    <a:pt x="273" y="0"/>
                  </a:lnTo>
                  <a:lnTo>
                    <a:pt x="271" y="0"/>
                  </a:lnTo>
                  <a:lnTo>
                    <a:pt x="15" y="0"/>
                  </a:lnTo>
                  <a:lnTo>
                    <a:pt x="12" y="0"/>
                  </a:lnTo>
                  <a:lnTo>
                    <a:pt x="10"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8">
              <a:extLst>
                <a:ext uri="{FF2B5EF4-FFF2-40B4-BE49-F238E27FC236}">
                  <a16:creationId xmlns:a16="http://schemas.microsoft.com/office/drawing/2014/main" id="{8D65D96F-1D50-4A03-849A-952626E597B2}"/>
                </a:ext>
              </a:extLst>
            </p:cNvPr>
            <p:cNvSpPr>
              <a:spLocks/>
            </p:cNvSpPr>
            <p:nvPr/>
          </p:nvSpPr>
          <p:spPr bwMode="auto">
            <a:xfrm>
              <a:off x="4978400" y="25971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0 h 30"/>
                <a:gd name="T16" fmla="*/ 360 w 361"/>
                <a:gd name="T17" fmla="*/ 18 h 30"/>
                <a:gd name="T18" fmla="*/ 361 w 361"/>
                <a:gd name="T19" fmla="*/ 15 h 30"/>
                <a:gd name="T20" fmla="*/ 360 w 361"/>
                <a:gd name="T21" fmla="*/ 12 h 30"/>
                <a:gd name="T22" fmla="*/ 360 w 361"/>
                <a:gd name="T23" fmla="*/ 9 h 30"/>
                <a:gd name="T24" fmla="*/ 358 w 361"/>
                <a:gd name="T25" fmla="*/ 6 h 30"/>
                <a:gd name="T26" fmla="*/ 356 w 361"/>
                <a:gd name="T27" fmla="*/ 4 h 30"/>
                <a:gd name="T28" fmla="*/ 354 w 361"/>
                <a:gd name="T29" fmla="*/ 2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2 h 30"/>
                <a:gd name="T44" fmla="*/ 4 w 361"/>
                <a:gd name="T45" fmla="*/ 4 h 30"/>
                <a:gd name="T46" fmla="*/ 2 w 361"/>
                <a:gd name="T47" fmla="*/ 6 h 30"/>
                <a:gd name="T48" fmla="*/ 1 w 361"/>
                <a:gd name="T49" fmla="*/ 9 h 30"/>
                <a:gd name="T50" fmla="*/ 0 w 361"/>
                <a:gd name="T51" fmla="*/ 12 h 30"/>
                <a:gd name="T52" fmla="*/ 0 w 361"/>
                <a:gd name="T53" fmla="*/ 15 h 30"/>
                <a:gd name="T54" fmla="*/ 0 w 361"/>
                <a:gd name="T55" fmla="*/ 18 h 30"/>
                <a:gd name="T56" fmla="*/ 1 w 361"/>
                <a:gd name="T57" fmla="*/ 20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0"/>
                  </a:lnTo>
                  <a:lnTo>
                    <a:pt x="360" y="18"/>
                  </a:lnTo>
                  <a:lnTo>
                    <a:pt x="361" y="15"/>
                  </a:lnTo>
                  <a:lnTo>
                    <a:pt x="360" y="12"/>
                  </a:lnTo>
                  <a:lnTo>
                    <a:pt x="360" y="9"/>
                  </a:lnTo>
                  <a:lnTo>
                    <a:pt x="358" y="6"/>
                  </a:lnTo>
                  <a:lnTo>
                    <a:pt x="356" y="4"/>
                  </a:lnTo>
                  <a:lnTo>
                    <a:pt x="354" y="2"/>
                  </a:lnTo>
                  <a:lnTo>
                    <a:pt x="352" y="1"/>
                  </a:lnTo>
                  <a:lnTo>
                    <a:pt x="348" y="0"/>
                  </a:lnTo>
                  <a:lnTo>
                    <a:pt x="346" y="0"/>
                  </a:ln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9">
              <a:extLst>
                <a:ext uri="{FF2B5EF4-FFF2-40B4-BE49-F238E27FC236}">
                  <a16:creationId xmlns:a16="http://schemas.microsoft.com/office/drawing/2014/main" id="{3605A92E-2A48-43D9-9C96-1FFE7BD65A5B}"/>
                </a:ext>
              </a:extLst>
            </p:cNvPr>
            <p:cNvSpPr>
              <a:spLocks/>
            </p:cNvSpPr>
            <p:nvPr/>
          </p:nvSpPr>
          <p:spPr bwMode="auto">
            <a:xfrm>
              <a:off x="4978400" y="26352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1 h 30"/>
                <a:gd name="T16" fmla="*/ 360 w 361"/>
                <a:gd name="T17" fmla="*/ 18 h 30"/>
                <a:gd name="T18" fmla="*/ 361 w 361"/>
                <a:gd name="T19" fmla="*/ 15 h 30"/>
                <a:gd name="T20" fmla="*/ 360 w 361"/>
                <a:gd name="T21" fmla="*/ 12 h 30"/>
                <a:gd name="T22" fmla="*/ 360 w 361"/>
                <a:gd name="T23" fmla="*/ 10 h 30"/>
                <a:gd name="T24" fmla="*/ 358 w 361"/>
                <a:gd name="T25" fmla="*/ 6 h 30"/>
                <a:gd name="T26" fmla="*/ 356 w 361"/>
                <a:gd name="T27" fmla="*/ 4 h 30"/>
                <a:gd name="T28" fmla="*/ 354 w 361"/>
                <a:gd name="T29" fmla="*/ 3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3 h 30"/>
                <a:gd name="T44" fmla="*/ 4 w 361"/>
                <a:gd name="T45" fmla="*/ 4 h 30"/>
                <a:gd name="T46" fmla="*/ 2 w 361"/>
                <a:gd name="T47" fmla="*/ 6 h 30"/>
                <a:gd name="T48" fmla="*/ 1 w 361"/>
                <a:gd name="T49" fmla="*/ 10 h 30"/>
                <a:gd name="T50" fmla="*/ 0 w 361"/>
                <a:gd name="T51" fmla="*/ 12 h 30"/>
                <a:gd name="T52" fmla="*/ 0 w 361"/>
                <a:gd name="T53" fmla="*/ 15 h 30"/>
                <a:gd name="T54" fmla="*/ 0 w 361"/>
                <a:gd name="T55" fmla="*/ 18 h 30"/>
                <a:gd name="T56" fmla="*/ 1 w 361"/>
                <a:gd name="T57" fmla="*/ 21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1"/>
                  </a:lnTo>
                  <a:lnTo>
                    <a:pt x="360" y="18"/>
                  </a:lnTo>
                  <a:lnTo>
                    <a:pt x="361" y="15"/>
                  </a:lnTo>
                  <a:lnTo>
                    <a:pt x="360" y="12"/>
                  </a:lnTo>
                  <a:lnTo>
                    <a:pt x="360" y="10"/>
                  </a:lnTo>
                  <a:lnTo>
                    <a:pt x="358" y="6"/>
                  </a:lnTo>
                  <a:lnTo>
                    <a:pt x="356" y="4"/>
                  </a:lnTo>
                  <a:lnTo>
                    <a:pt x="354" y="3"/>
                  </a:lnTo>
                  <a:lnTo>
                    <a:pt x="352" y="1"/>
                  </a:lnTo>
                  <a:lnTo>
                    <a:pt x="348" y="0"/>
                  </a:lnTo>
                  <a:lnTo>
                    <a:pt x="346" y="0"/>
                  </a:lnTo>
                  <a:lnTo>
                    <a:pt x="15" y="0"/>
                  </a:lnTo>
                  <a:lnTo>
                    <a:pt x="12" y="0"/>
                  </a:lnTo>
                  <a:lnTo>
                    <a:pt x="8" y="1"/>
                  </a:lnTo>
                  <a:lnTo>
                    <a:pt x="6" y="3"/>
                  </a:lnTo>
                  <a:lnTo>
                    <a:pt x="4" y="4"/>
                  </a:lnTo>
                  <a:lnTo>
                    <a:pt x="2" y="6"/>
                  </a:lnTo>
                  <a:lnTo>
                    <a:pt x="1" y="10"/>
                  </a:lnTo>
                  <a:lnTo>
                    <a:pt x="0" y="12"/>
                  </a:lnTo>
                  <a:lnTo>
                    <a:pt x="0" y="15"/>
                  </a:lnTo>
                  <a:lnTo>
                    <a:pt x="0" y="18"/>
                  </a:lnTo>
                  <a:lnTo>
                    <a:pt x="1" y="21"/>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Group 101">
            <a:extLst>
              <a:ext uri="{FF2B5EF4-FFF2-40B4-BE49-F238E27FC236}">
                <a16:creationId xmlns:a16="http://schemas.microsoft.com/office/drawing/2014/main" id="{2480D411-78DD-4E44-887E-B6D3C6CDB568}"/>
              </a:ext>
            </a:extLst>
          </p:cNvPr>
          <p:cNvGrpSpPr/>
          <p:nvPr/>
        </p:nvGrpSpPr>
        <p:grpSpPr>
          <a:xfrm>
            <a:off x="5969997" y="2800329"/>
            <a:ext cx="504084" cy="500786"/>
            <a:chOff x="2079041" y="6520603"/>
            <a:chExt cx="228694" cy="227198"/>
          </a:xfrm>
          <a:solidFill>
            <a:schemeClr val="accent4"/>
          </a:solidFill>
        </p:grpSpPr>
        <p:sp>
          <p:nvSpPr>
            <p:cNvPr id="103" name="Freeform 105">
              <a:extLst>
                <a:ext uri="{FF2B5EF4-FFF2-40B4-BE49-F238E27FC236}">
                  <a16:creationId xmlns:a16="http://schemas.microsoft.com/office/drawing/2014/main" id="{8AB0B67B-8FFF-40FC-9C08-D3DC749429CB}"/>
                </a:ext>
              </a:extLst>
            </p:cNvPr>
            <p:cNvSpPr>
              <a:spLocks/>
            </p:cNvSpPr>
            <p:nvPr/>
          </p:nvSpPr>
          <p:spPr bwMode="auto">
            <a:xfrm>
              <a:off x="2185167" y="6682034"/>
              <a:ext cx="17937" cy="19432"/>
            </a:xfrm>
            <a:custGeom>
              <a:avLst/>
              <a:gdLst>
                <a:gd name="T0" fmla="*/ 25 w 51"/>
                <a:gd name="T1" fmla="*/ 0 h 52"/>
                <a:gd name="T2" fmla="*/ 20 w 51"/>
                <a:gd name="T3" fmla="*/ 1 h 52"/>
                <a:gd name="T4" fmla="*/ 15 w 51"/>
                <a:gd name="T5" fmla="*/ 2 h 52"/>
                <a:gd name="T6" fmla="*/ 11 w 51"/>
                <a:gd name="T7" fmla="*/ 4 h 52"/>
                <a:gd name="T8" fmla="*/ 8 w 51"/>
                <a:gd name="T9" fmla="*/ 8 h 52"/>
                <a:gd name="T10" fmla="*/ 4 w 51"/>
                <a:gd name="T11" fmla="*/ 12 h 52"/>
                <a:gd name="T12" fmla="*/ 2 w 51"/>
                <a:gd name="T13" fmla="*/ 16 h 52"/>
                <a:gd name="T14" fmla="*/ 0 w 51"/>
                <a:gd name="T15" fmla="*/ 21 h 52"/>
                <a:gd name="T16" fmla="*/ 0 w 51"/>
                <a:gd name="T17" fmla="*/ 26 h 52"/>
                <a:gd name="T18" fmla="*/ 0 w 51"/>
                <a:gd name="T19" fmla="*/ 31 h 52"/>
                <a:gd name="T20" fmla="*/ 2 w 51"/>
                <a:gd name="T21" fmla="*/ 37 h 52"/>
                <a:gd name="T22" fmla="*/ 4 w 51"/>
                <a:gd name="T23" fmla="*/ 41 h 52"/>
                <a:gd name="T24" fmla="*/ 8 w 51"/>
                <a:gd name="T25" fmla="*/ 44 h 52"/>
                <a:gd name="T26" fmla="*/ 11 w 51"/>
                <a:gd name="T27" fmla="*/ 47 h 52"/>
                <a:gd name="T28" fmla="*/ 15 w 51"/>
                <a:gd name="T29" fmla="*/ 49 h 52"/>
                <a:gd name="T30" fmla="*/ 20 w 51"/>
                <a:gd name="T31" fmla="*/ 51 h 52"/>
                <a:gd name="T32" fmla="*/ 25 w 51"/>
                <a:gd name="T33" fmla="*/ 52 h 52"/>
                <a:gd name="T34" fmla="*/ 30 w 51"/>
                <a:gd name="T35" fmla="*/ 51 h 52"/>
                <a:gd name="T36" fmla="*/ 35 w 51"/>
                <a:gd name="T37" fmla="*/ 49 h 52"/>
                <a:gd name="T38" fmla="*/ 40 w 51"/>
                <a:gd name="T39" fmla="*/ 47 h 52"/>
                <a:gd name="T40" fmla="*/ 43 w 51"/>
                <a:gd name="T41" fmla="*/ 44 h 52"/>
                <a:gd name="T42" fmla="*/ 46 w 51"/>
                <a:gd name="T43" fmla="*/ 41 h 52"/>
                <a:gd name="T44" fmla="*/ 48 w 51"/>
                <a:gd name="T45" fmla="*/ 37 h 52"/>
                <a:gd name="T46" fmla="*/ 51 w 51"/>
                <a:gd name="T47" fmla="*/ 31 h 52"/>
                <a:gd name="T48" fmla="*/ 51 w 51"/>
                <a:gd name="T49" fmla="*/ 26 h 52"/>
                <a:gd name="T50" fmla="*/ 51 w 51"/>
                <a:gd name="T51" fmla="*/ 21 h 52"/>
                <a:gd name="T52" fmla="*/ 48 w 51"/>
                <a:gd name="T53" fmla="*/ 16 h 52"/>
                <a:gd name="T54" fmla="*/ 46 w 51"/>
                <a:gd name="T55" fmla="*/ 12 h 52"/>
                <a:gd name="T56" fmla="*/ 43 w 51"/>
                <a:gd name="T57" fmla="*/ 8 h 52"/>
                <a:gd name="T58" fmla="*/ 40 w 51"/>
                <a:gd name="T59" fmla="*/ 4 h 52"/>
                <a:gd name="T60" fmla="*/ 35 w 51"/>
                <a:gd name="T61" fmla="*/ 2 h 52"/>
                <a:gd name="T62" fmla="*/ 30 w 51"/>
                <a:gd name="T63" fmla="*/ 1 h 52"/>
                <a:gd name="T64" fmla="*/ 25 w 51"/>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2">
                  <a:moveTo>
                    <a:pt x="25" y="0"/>
                  </a:moveTo>
                  <a:lnTo>
                    <a:pt x="20" y="1"/>
                  </a:lnTo>
                  <a:lnTo>
                    <a:pt x="15" y="2"/>
                  </a:lnTo>
                  <a:lnTo>
                    <a:pt x="11" y="4"/>
                  </a:lnTo>
                  <a:lnTo>
                    <a:pt x="8" y="8"/>
                  </a:lnTo>
                  <a:lnTo>
                    <a:pt x="4" y="12"/>
                  </a:lnTo>
                  <a:lnTo>
                    <a:pt x="2" y="16"/>
                  </a:lnTo>
                  <a:lnTo>
                    <a:pt x="0" y="21"/>
                  </a:lnTo>
                  <a:lnTo>
                    <a:pt x="0" y="26"/>
                  </a:lnTo>
                  <a:lnTo>
                    <a:pt x="0" y="31"/>
                  </a:lnTo>
                  <a:lnTo>
                    <a:pt x="2" y="37"/>
                  </a:lnTo>
                  <a:lnTo>
                    <a:pt x="4" y="41"/>
                  </a:lnTo>
                  <a:lnTo>
                    <a:pt x="8" y="44"/>
                  </a:lnTo>
                  <a:lnTo>
                    <a:pt x="11" y="47"/>
                  </a:lnTo>
                  <a:lnTo>
                    <a:pt x="15" y="49"/>
                  </a:lnTo>
                  <a:lnTo>
                    <a:pt x="20" y="51"/>
                  </a:lnTo>
                  <a:lnTo>
                    <a:pt x="25" y="52"/>
                  </a:lnTo>
                  <a:lnTo>
                    <a:pt x="30" y="51"/>
                  </a:lnTo>
                  <a:lnTo>
                    <a:pt x="35" y="49"/>
                  </a:lnTo>
                  <a:lnTo>
                    <a:pt x="40" y="47"/>
                  </a:lnTo>
                  <a:lnTo>
                    <a:pt x="43" y="44"/>
                  </a:lnTo>
                  <a:lnTo>
                    <a:pt x="46" y="41"/>
                  </a:lnTo>
                  <a:lnTo>
                    <a:pt x="48" y="37"/>
                  </a:lnTo>
                  <a:lnTo>
                    <a:pt x="51" y="31"/>
                  </a:lnTo>
                  <a:lnTo>
                    <a:pt x="51" y="26"/>
                  </a:lnTo>
                  <a:lnTo>
                    <a:pt x="51" y="21"/>
                  </a:lnTo>
                  <a:lnTo>
                    <a:pt x="48" y="16"/>
                  </a:lnTo>
                  <a:lnTo>
                    <a:pt x="46" y="12"/>
                  </a:lnTo>
                  <a:lnTo>
                    <a:pt x="43" y="8"/>
                  </a:lnTo>
                  <a:lnTo>
                    <a:pt x="40" y="4"/>
                  </a:lnTo>
                  <a:lnTo>
                    <a:pt x="35" y="2"/>
                  </a:lnTo>
                  <a:lnTo>
                    <a:pt x="30" y="1"/>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06">
              <a:extLst>
                <a:ext uri="{FF2B5EF4-FFF2-40B4-BE49-F238E27FC236}">
                  <a16:creationId xmlns:a16="http://schemas.microsoft.com/office/drawing/2014/main" id="{447BF22F-3687-4E5B-B43B-6384C8F8B167}"/>
                </a:ext>
              </a:extLst>
            </p:cNvPr>
            <p:cNvSpPr>
              <a:spLocks noEditPoints="1"/>
            </p:cNvSpPr>
            <p:nvPr/>
          </p:nvSpPr>
          <p:spPr bwMode="auto">
            <a:xfrm>
              <a:off x="2079041" y="6520603"/>
              <a:ext cx="228694" cy="227198"/>
            </a:xfrm>
            <a:custGeom>
              <a:avLst/>
              <a:gdLst>
                <a:gd name="T0" fmla="*/ 249 w 611"/>
                <a:gd name="T1" fmla="*/ 580 h 611"/>
                <a:gd name="T2" fmla="*/ 183 w 611"/>
                <a:gd name="T3" fmla="*/ 559 h 611"/>
                <a:gd name="T4" fmla="*/ 128 w 611"/>
                <a:gd name="T5" fmla="*/ 522 h 611"/>
                <a:gd name="T6" fmla="*/ 80 w 611"/>
                <a:gd name="T7" fmla="*/ 474 h 611"/>
                <a:gd name="T8" fmla="*/ 47 w 611"/>
                <a:gd name="T9" fmla="*/ 416 h 611"/>
                <a:gd name="T10" fmla="*/ 29 w 611"/>
                <a:gd name="T11" fmla="*/ 349 h 611"/>
                <a:gd name="T12" fmla="*/ 27 w 611"/>
                <a:gd name="T13" fmla="*/ 277 h 611"/>
                <a:gd name="T14" fmla="*/ 42 w 611"/>
                <a:gd name="T15" fmla="*/ 210 h 611"/>
                <a:gd name="T16" fmla="*/ 73 w 611"/>
                <a:gd name="T17" fmla="*/ 150 h 611"/>
                <a:gd name="T18" fmla="*/ 117 w 611"/>
                <a:gd name="T19" fmla="*/ 99 h 611"/>
                <a:gd name="T20" fmla="*/ 172 w 611"/>
                <a:gd name="T21" fmla="*/ 61 h 611"/>
                <a:gd name="T22" fmla="*/ 235 w 611"/>
                <a:gd name="T23" fmla="*/ 35 h 611"/>
                <a:gd name="T24" fmla="*/ 305 w 611"/>
                <a:gd name="T25" fmla="*/ 26 h 611"/>
                <a:gd name="T26" fmla="*/ 376 w 611"/>
                <a:gd name="T27" fmla="*/ 35 h 611"/>
                <a:gd name="T28" fmla="*/ 439 w 611"/>
                <a:gd name="T29" fmla="*/ 61 h 611"/>
                <a:gd name="T30" fmla="*/ 494 w 611"/>
                <a:gd name="T31" fmla="*/ 99 h 611"/>
                <a:gd name="T32" fmla="*/ 538 w 611"/>
                <a:gd name="T33" fmla="*/ 150 h 611"/>
                <a:gd name="T34" fmla="*/ 568 w 611"/>
                <a:gd name="T35" fmla="*/ 210 h 611"/>
                <a:gd name="T36" fmla="*/ 584 w 611"/>
                <a:gd name="T37" fmla="*/ 277 h 611"/>
                <a:gd name="T38" fmla="*/ 582 w 611"/>
                <a:gd name="T39" fmla="*/ 349 h 611"/>
                <a:gd name="T40" fmla="*/ 564 w 611"/>
                <a:gd name="T41" fmla="*/ 416 h 611"/>
                <a:gd name="T42" fmla="*/ 529 w 611"/>
                <a:gd name="T43" fmla="*/ 474 h 611"/>
                <a:gd name="T44" fmla="*/ 483 w 611"/>
                <a:gd name="T45" fmla="*/ 522 h 611"/>
                <a:gd name="T46" fmla="*/ 426 w 611"/>
                <a:gd name="T47" fmla="*/ 559 h 611"/>
                <a:gd name="T48" fmla="*/ 362 w 611"/>
                <a:gd name="T49" fmla="*/ 580 h 611"/>
                <a:gd name="T50" fmla="*/ 305 w 611"/>
                <a:gd name="T51" fmla="*/ 0 h 611"/>
                <a:gd name="T52" fmla="*/ 229 w 611"/>
                <a:gd name="T53" fmla="*/ 10 h 611"/>
                <a:gd name="T54" fmla="*/ 160 w 611"/>
                <a:gd name="T55" fmla="*/ 38 h 611"/>
                <a:gd name="T56" fmla="*/ 100 w 611"/>
                <a:gd name="T57" fmla="*/ 80 h 611"/>
                <a:gd name="T58" fmla="*/ 52 w 611"/>
                <a:gd name="T59" fmla="*/ 136 h 611"/>
                <a:gd name="T60" fmla="*/ 18 w 611"/>
                <a:gd name="T61" fmla="*/ 201 h 611"/>
                <a:gd name="T62" fmla="*/ 1 w 611"/>
                <a:gd name="T63" fmla="*/ 275 h 611"/>
                <a:gd name="T64" fmla="*/ 3 w 611"/>
                <a:gd name="T65" fmla="*/ 353 h 611"/>
                <a:gd name="T66" fmla="*/ 23 w 611"/>
                <a:gd name="T67" fmla="*/ 426 h 611"/>
                <a:gd name="T68" fmla="*/ 60 w 611"/>
                <a:gd name="T69" fmla="*/ 489 h 611"/>
                <a:gd name="T70" fmla="*/ 111 w 611"/>
                <a:gd name="T71" fmla="*/ 543 h 611"/>
                <a:gd name="T72" fmla="*/ 173 w 611"/>
                <a:gd name="T73" fmla="*/ 581 h 611"/>
                <a:gd name="T74" fmla="*/ 244 w 611"/>
                <a:gd name="T75" fmla="*/ 606 h 611"/>
                <a:gd name="T76" fmla="*/ 321 w 611"/>
                <a:gd name="T77" fmla="*/ 611 h 611"/>
                <a:gd name="T78" fmla="*/ 396 w 611"/>
                <a:gd name="T79" fmla="*/ 598 h 611"/>
                <a:gd name="T80" fmla="*/ 464 w 611"/>
                <a:gd name="T81" fmla="*/ 567 h 611"/>
                <a:gd name="T82" fmla="*/ 522 w 611"/>
                <a:gd name="T83" fmla="*/ 522 h 611"/>
                <a:gd name="T84" fmla="*/ 567 w 611"/>
                <a:gd name="T85" fmla="*/ 465 h 611"/>
                <a:gd name="T86" fmla="*/ 597 w 611"/>
                <a:gd name="T87" fmla="*/ 398 h 611"/>
                <a:gd name="T88" fmla="*/ 611 w 611"/>
                <a:gd name="T89" fmla="*/ 323 h 611"/>
                <a:gd name="T90" fmla="*/ 604 w 611"/>
                <a:gd name="T91" fmla="*/ 245 h 611"/>
                <a:gd name="T92" fmla="*/ 581 w 611"/>
                <a:gd name="T93" fmla="*/ 174 h 611"/>
                <a:gd name="T94" fmla="*/ 541 w 611"/>
                <a:gd name="T95" fmla="*/ 112 h 611"/>
                <a:gd name="T96" fmla="*/ 488 w 611"/>
                <a:gd name="T97" fmla="*/ 62 h 611"/>
                <a:gd name="T98" fmla="*/ 424 w 611"/>
                <a:gd name="T99" fmla="*/ 25 h 611"/>
                <a:gd name="T100" fmla="*/ 352 w 611"/>
                <a:gd name="T101" fmla="*/ 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1" h="611">
                  <a:moveTo>
                    <a:pt x="305" y="587"/>
                  </a:moveTo>
                  <a:lnTo>
                    <a:pt x="291" y="586"/>
                  </a:lnTo>
                  <a:lnTo>
                    <a:pt x="277" y="585"/>
                  </a:lnTo>
                  <a:lnTo>
                    <a:pt x="263" y="583"/>
                  </a:lnTo>
                  <a:lnTo>
                    <a:pt x="249" y="580"/>
                  </a:lnTo>
                  <a:lnTo>
                    <a:pt x="235" y="578"/>
                  </a:lnTo>
                  <a:lnTo>
                    <a:pt x="222" y="574"/>
                  </a:lnTo>
                  <a:lnTo>
                    <a:pt x="209" y="569"/>
                  </a:lnTo>
                  <a:lnTo>
                    <a:pt x="196" y="564"/>
                  </a:lnTo>
                  <a:lnTo>
                    <a:pt x="183" y="559"/>
                  </a:lnTo>
                  <a:lnTo>
                    <a:pt x="172" y="552"/>
                  </a:lnTo>
                  <a:lnTo>
                    <a:pt x="160" y="546"/>
                  </a:lnTo>
                  <a:lnTo>
                    <a:pt x="149" y="538"/>
                  </a:lnTo>
                  <a:lnTo>
                    <a:pt x="137" y="531"/>
                  </a:lnTo>
                  <a:lnTo>
                    <a:pt x="128" y="522"/>
                  </a:lnTo>
                  <a:lnTo>
                    <a:pt x="117" y="514"/>
                  </a:lnTo>
                  <a:lnTo>
                    <a:pt x="107" y="505"/>
                  </a:lnTo>
                  <a:lnTo>
                    <a:pt x="98" y="494"/>
                  </a:lnTo>
                  <a:lnTo>
                    <a:pt x="89" y="485"/>
                  </a:lnTo>
                  <a:lnTo>
                    <a:pt x="80" y="474"/>
                  </a:lnTo>
                  <a:lnTo>
                    <a:pt x="73" y="463"/>
                  </a:lnTo>
                  <a:lnTo>
                    <a:pt x="65" y="451"/>
                  </a:lnTo>
                  <a:lnTo>
                    <a:pt x="59" y="440"/>
                  </a:lnTo>
                  <a:lnTo>
                    <a:pt x="52" y="428"/>
                  </a:lnTo>
                  <a:lnTo>
                    <a:pt x="47" y="416"/>
                  </a:lnTo>
                  <a:lnTo>
                    <a:pt x="42" y="403"/>
                  </a:lnTo>
                  <a:lnTo>
                    <a:pt x="37" y="390"/>
                  </a:lnTo>
                  <a:lnTo>
                    <a:pt x="34" y="376"/>
                  </a:lnTo>
                  <a:lnTo>
                    <a:pt x="31" y="363"/>
                  </a:lnTo>
                  <a:lnTo>
                    <a:pt x="29" y="349"/>
                  </a:lnTo>
                  <a:lnTo>
                    <a:pt x="27" y="335"/>
                  </a:lnTo>
                  <a:lnTo>
                    <a:pt x="26" y="320"/>
                  </a:lnTo>
                  <a:lnTo>
                    <a:pt x="26" y="306"/>
                  </a:lnTo>
                  <a:lnTo>
                    <a:pt x="26" y="291"/>
                  </a:lnTo>
                  <a:lnTo>
                    <a:pt x="27" y="277"/>
                  </a:lnTo>
                  <a:lnTo>
                    <a:pt x="29" y="263"/>
                  </a:lnTo>
                  <a:lnTo>
                    <a:pt x="31" y="249"/>
                  </a:lnTo>
                  <a:lnTo>
                    <a:pt x="34" y="237"/>
                  </a:lnTo>
                  <a:lnTo>
                    <a:pt x="37" y="223"/>
                  </a:lnTo>
                  <a:lnTo>
                    <a:pt x="42" y="210"/>
                  </a:lnTo>
                  <a:lnTo>
                    <a:pt x="47" y="198"/>
                  </a:lnTo>
                  <a:lnTo>
                    <a:pt x="52" y="185"/>
                  </a:lnTo>
                  <a:lnTo>
                    <a:pt x="59" y="173"/>
                  </a:lnTo>
                  <a:lnTo>
                    <a:pt x="65" y="161"/>
                  </a:lnTo>
                  <a:lnTo>
                    <a:pt x="73" y="150"/>
                  </a:lnTo>
                  <a:lnTo>
                    <a:pt x="80" y="139"/>
                  </a:lnTo>
                  <a:lnTo>
                    <a:pt x="89" y="128"/>
                  </a:lnTo>
                  <a:lnTo>
                    <a:pt x="98" y="118"/>
                  </a:lnTo>
                  <a:lnTo>
                    <a:pt x="107" y="109"/>
                  </a:lnTo>
                  <a:lnTo>
                    <a:pt x="117" y="99"/>
                  </a:lnTo>
                  <a:lnTo>
                    <a:pt x="128" y="91"/>
                  </a:lnTo>
                  <a:lnTo>
                    <a:pt x="137" y="82"/>
                  </a:lnTo>
                  <a:lnTo>
                    <a:pt x="149" y="74"/>
                  </a:lnTo>
                  <a:lnTo>
                    <a:pt x="160" y="67"/>
                  </a:lnTo>
                  <a:lnTo>
                    <a:pt x="172" y="61"/>
                  </a:lnTo>
                  <a:lnTo>
                    <a:pt x="183" y="54"/>
                  </a:lnTo>
                  <a:lnTo>
                    <a:pt x="196" y="49"/>
                  </a:lnTo>
                  <a:lnTo>
                    <a:pt x="209" y="43"/>
                  </a:lnTo>
                  <a:lnTo>
                    <a:pt x="222" y="39"/>
                  </a:lnTo>
                  <a:lnTo>
                    <a:pt x="235" y="35"/>
                  </a:lnTo>
                  <a:lnTo>
                    <a:pt x="249" y="32"/>
                  </a:lnTo>
                  <a:lnTo>
                    <a:pt x="263" y="29"/>
                  </a:lnTo>
                  <a:lnTo>
                    <a:pt x="277" y="27"/>
                  </a:lnTo>
                  <a:lnTo>
                    <a:pt x="291" y="26"/>
                  </a:lnTo>
                  <a:lnTo>
                    <a:pt x="305" y="26"/>
                  </a:lnTo>
                  <a:lnTo>
                    <a:pt x="320" y="26"/>
                  </a:lnTo>
                  <a:lnTo>
                    <a:pt x="334" y="27"/>
                  </a:lnTo>
                  <a:lnTo>
                    <a:pt x="348" y="29"/>
                  </a:lnTo>
                  <a:lnTo>
                    <a:pt x="362" y="32"/>
                  </a:lnTo>
                  <a:lnTo>
                    <a:pt x="376" y="35"/>
                  </a:lnTo>
                  <a:lnTo>
                    <a:pt x="388" y="39"/>
                  </a:lnTo>
                  <a:lnTo>
                    <a:pt x="401" y="43"/>
                  </a:lnTo>
                  <a:lnTo>
                    <a:pt x="414" y="49"/>
                  </a:lnTo>
                  <a:lnTo>
                    <a:pt x="426" y="54"/>
                  </a:lnTo>
                  <a:lnTo>
                    <a:pt x="439" y="61"/>
                  </a:lnTo>
                  <a:lnTo>
                    <a:pt x="451" y="67"/>
                  </a:lnTo>
                  <a:lnTo>
                    <a:pt x="462" y="74"/>
                  </a:lnTo>
                  <a:lnTo>
                    <a:pt x="472" y="82"/>
                  </a:lnTo>
                  <a:lnTo>
                    <a:pt x="483" y="91"/>
                  </a:lnTo>
                  <a:lnTo>
                    <a:pt x="494" y="99"/>
                  </a:lnTo>
                  <a:lnTo>
                    <a:pt x="503" y="109"/>
                  </a:lnTo>
                  <a:lnTo>
                    <a:pt x="512" y="118"/>
                  </a:lnTo>
                  <a:lnTo>
                    <a:pt x="522" y="128"/>
                  </a:lnTo>
                  <a:lnTo>
                    <a:pt x="529" y="139"/>
                  </a:lnTo>
                  <a:lnTo>
                    <a:pt x="538" y="150"/>
                  </a:lnTo>
                  <a:lnTo>
                    <a:pt x="545" y="161"/>
                  </a:lnTo>
                  <a:lnTo>
                    <a:pt x="552" y="173"/>
                  </a:lnTo>
                  <a:lnTo>
                    <a:pt x="558" y="185"/>
                  </a:lnTo>
                  <a:lnTo>
                    <a:pt x="564" y="198"/>
                  </a:lnTo>
                  <a:lnTo>
                    <a:pt x="568" y="210"/>
                  </a:lnTo>
                  <a:lnTo>
                    <a:pt x="573" y="223"/>
                  </a:lnTo>
                  <a:lnTo>
                    <a:pt x="576" y="237"/>
                  </a:lnTo>
                  <a:lnTo>
                    <a:pt x="580" y="249"/>
                  </a:lnTo>
                  <a:lnTo>
                    <a:pt x="582" y="263"/>
                  </a:lnTo>
                  <a:lnTo>
                    <a:pt x="584" y="277"/>
                  </a:lnTo>
                  <a:lnTo>
                    <a:pt x="585" y="291"/>
                  </a:lnTo>
                  <a:lnTo>
                    <a:pt x="585" y="306"/>
                  </a:lnTo>
                  <a:lnTo>
                    <a:pt x="585" y="320"/>
                  </a:lnTo>
                  <a:lnTo>
                    <a:pt x="584" y="335"/>
                  </a:lnTo>
                  <a:lnTo>
                    <a:pt x="582" y="349"/>
                  </a:lnTo>
                  <a:lnTo>
                    <a:pt x="580" y="363"/>
                  </a:lnTo>
                  <a:lnTo>
                    <a:pt x="576" y="376"/>
                  </a:lnTo>
                  <a:lnTo>
                    <a:pt x="573" y="390"/>
                  </a:lnTo>
                  <a:lnTo>
                    <a:pt x="568" y="403"/>
                  </a:lnTo>
                  <a:lnTo>
                    <a:pt x="564" y="416"/>
                  </a:lnTo>
                  <a:lnTo>
                    <a:pt x="558" y="428"/>
                  </a:lnTo>
                  <a:lnTo>
                    <a:pt x="552" y="440"/>
                  </a:lnTo>
                  <a:lnTo>
                    <a:pt x="545" y="451"/>
                  </a:lnTo>
                  <a:lnTo>
                    <a:pt x="538" y="463"/>
                  </a:lnTo>
                  <a:lnTo>
                    <a:pt x="529" y="474"/>
                  </a:lnTo>
                  <a:lnTo>
                    <a:pt x="522" y="485"/>
                  </a:lnTo>
                  <a:lnTo>
                    <a:pt x="512" y="494"/>
                  </a:lnTo>
                  <a:lnTo>
                    <a:pt x="503" y="505"/>
                  </a:lnTo>
                  <a:lnTo>
                    <a:pt x="494" y="514"/>
                  </a:lnTo>
                  <a:lnTo>
                    <a:pt x="483" y="522"/>
                  </a:lnTo>
                  <a:lnTo>
                    <a:pt x="472" y="531"/>
                  </a:lnTo>
                  <a:lnTo>
                    <a:pt x="462" y="538"/>
                  </a:lnTo>
                  <a:lnTo>
                    <a:pt x="451" y="546"/>
                  </a:lnTo>
                  <a:lnTo>
                    <a:pt x="439" y="552"/>
                  </a:lnTo>
                  <a:lnTo>
                    <a:pt x="426" y="559"/>
                  </a:lnTo>
                  <a:lnTo>
                    <a:pt x="414" y="564"/>
                  </a:lnTo>
                  <a:lnTo>
                    <a:pt x="401" y="569"/>
                  </a:lnTo>
                  <a:lnTo>
                    <a:pt x="388" y="574"/>
                  </a:lnTo>
                  <a:lnTo>
                    <a:pt x="376" y="578"/>
                  </a:lnTo>
                  <a:lnTo>
                    <a:pt x="362" y="580"/>
                  </a:lnTo>
                  <a:lnTo>
                    <a:pt x="348" y="583"/>
                  </a:lnTo>
                  <a:lnTo>
                    <a:pt x="334" y="585"/>
                  </a:lnTo>
                  <a:lnTo>
                    <a:pt x="320" y="586"/>
                  </a:lnTo>
                  <a:lnTo>
                    <a:pt x="305" y="587"/>
                  </a:lnTo>
                  <a:close/>
                  <a:moveTo>
                    <a:pt x="305" y="0"/>
                  </a:moveTo>
                  <a:lnTo>
                    <a:pt x="290" y="1"/>
                  </a:lnTo>
                  <a:lnTo>
                    <a:pt x="274" y="3"/>
                  </a:lnTo>
                  <a:lnTo>
                    <a:pt x="259" y="4"/>
                  </a:lnTo>
                  <a:lnTo>
                    <a:pt x="244" y="7"/>
                  </a:lnTo>
                  <a:lnTo>
                    <a:pt x="229" y="10"/>
                  </a:lnTo>
                  <a:lnTo>
                    <a:pt x="215" y="14"/>
                  </a:lnTo>
                  <a:lnTo>
                    <a:pt x="201" y="20"/>
                  </a:lnTo>
                  <a:lnTo>
                    <a:pt x="187" y="25"/>
                  </a:lnTo>
                  <a:lnTo>
                    <a:pt x="173" y="30"/>
                  </a:lnTo>
                  <a:lnTo>
                    <a:pt x="160" y="38"/>
                  </a:lnTo>
                  <a:lnTo>
                    <a:pt x="147" y="45"/>
                  </a:lnTo>
                  <a:lnTo>
                    <a:pt x="134" y="53"/>
                  </a:lnTo>
                  <a:lnTo>
                    <a:pt x="122" y="62"/>
                  </a:lnTo>
                  <a:lnTo>
                    <a:pt x="111" y="70"/>
                  </a:lnTo>
                  <a:lnTo>
                    <a:pt x="100" y="80"/>
                  </a:lnTo>
                  <a:lnTo>
                    <a:pt x="89" y="91"/>
                  </a:lnTo>
                  <a:lnTo>
                    <a:pt x="79" y="101"/>
                  </a:lnTo>
                  <a:lnTo>
                    <a:pt x="70" y="112"/>
                  </a:lnTo>
                  <a:lnTo>
                    <a:pt x="60" y="124"/>
                  </a:lnTo>
                  <a:lnTo>
                    <a:pt x="52" y="136"/>
                  </a:lnTo>
                  <a:lnTo>
                    <a:pt x="44" y="149"/>
                  </a:lnTo>
                  <a:lnTo>
                    <a:pt x="36" y="160"/>
                  </a:lnTo>
                  <a:lnTo>
                    <a:pt x="30" y="174"/>
                  </a:lnTo>
                  <a:lnTo>
                    <a:pt x="23" y="187"/>
                  </a:lnTo>
                  <a:lnTo>
                    <a:pt x="18" y="201"/>
                  </a:lnTo>
                  <a:lnTo>
                    <a:pt x="14" y="215"/>
                  </a:lnTo>
                  <a:lnTo>
                    <a:pt x="9" y="230"/>
                  </a:lnTo>
                  <a:lnTo>
                    <a:pt x="6" y="245"/>
                  </a:lnTo>
                  <a:lnTo>
                    <a:pt x="3" y="260"/>
                  </a:lnTo>
                  <a:lnTo>
                    <a:pt x="1" y="275"/>
                  </a:lnTo>
                  <a:lnTo>
                    <a:pt x="0" y="290"/>
                  </a:lnTo>
                  <a:lnTo>
                    <a:pt x="0" y="306"/>
                  </a:lnTo>
                  <a:lnTo>
                    <a:pt x="0" y="323"/>
                  </a:lnTo>
                  <a:lnTo>
                    <a:pt x="1" y="338"/>
                  </a:lnTo>
                  <a:lnTo>
                    <a:pt x="3" y="353"/>
                  </a:lnTo>
                  <a:lnTo>
                    <a:pt x="6" y="368"/>
                  </a:lnTo>
                  <a:lnTo>
                    <a:pt x="9" y="383"/>
                  </a:lnTo>
                  <a:lnTo>
                    <a:pt x="14" y="398"/>
                  </a:lnTo>
                  <a:lnTo>
                    <a:pt x="18" y="412"/>
                  </a:lnTo>
                  <a:lnTo>
                    <a:pt x="23" y="426"/>
                  </a:lnTo>
                  <a:lnTo>
                    <a:pt x="30" y="438"/>
                  </a:lnTo>
                  <a:lnTo>
                    <a:pt x="36" y="452"/>
                  </a:lnTo>
                  <a:lnTo>
                    <a:pt x="44" y="465"/>
                  </a:lnTo>
                  <a:lnTo>
                    <a:pt x="52" y="477"/>
                  </a:lnTo>
                  <a:lnTo>
                    <a:pt x="60" y="489"/>
                  </a:lnTo>
                  <a:lnTo>
                    <a:pt x="70" y="501"/>
                  </a:lnTo>
                  <a:lnTo>
                    <a:pt x="79" y="511"/>
                  </a:lnTo>
                  <a:lnTo>
                    <a:pt x="89" y="522"/>
                  </a:lnTo>
                  <a:lnTo>
                    <a:pt x="100" y="533"/>
                  </a:lnTo>
                  <a:lnTo>
                    <a:pt x="111" y="543"/>
                  </a:lnTo>
                  <a:lnTo>
                    <a:pt x="122" y="551"/>
                  </a:lnTo>
                  <a:lnTo>
                    <a:pt x="134" y="560"/>
                  </a:lnTo>
                  <a:lnTo>
                    <a:pt x="147" y="567"/>
                  </a:lnTo>
                  <a:lnTo>
                    <a:pt x="160" y="575"/>
                  </a:lnTo>
                  <a:lnTo>
                    <a:pt x="173" y="581"/>
                  </a:lnTo>
                  <a:lnTo>
                    <a:pt x="187" y="588"/>
                  </a:lnTo>
                  <a:lnTo>
                    <a:pt x="201" y="593"/>
                  </a:lnTo>
                  <a:lnTo>
                    <a:pt x="215" y="598"/>
                  </a:lnTo>
                  <a:lnTo>
                    <a:pt x="229" y="602"/>
                  </a:lnTo>
                  <a:lnTo>
                    <a:pt x="244" y="606"/>
                  </a:lnTo>
                  <a:lnTo>
                    <a:pt x="259" y="608"/>
                  </a:lnTo>
                  <a:lnTo>
                    <a:pt x="274" y="610"/>
                  </a:lnTo>
                  <a:lnTo>
                    <a:pt x="290" y="611"/>
                  </a:lnTo>
                  <a:lnTo>
                    <a:pt x="305" y="611"/>
                  </a:lnTo>
                  <a:lnTo>
                    <a:pt x="321" y="611"/>
                  </a:lnTo>
                  <a:lnTo>
                    <a:pt x="337" y="610"/>
                  </a:lnTo>
                  <a:lnTo>
                    <a:pt x="352" y="608"/>
                  </a:lnTo>
                  <a:lnTo>
                    <a:pt x="367" y="606"/>
                  </a:lnTo>
                  <a:lnTo>
                    <a:pt x="381" y="602"/>
                  </a:lnTo>
                  <a:lnTo>
                    <a:pt x="396" y="598"/>
                  </a:lnTo>
                  <a:lnTo>
                    <a:pt x="410" y="593"/>
                  </a:lnTo>
                  <a:lnTo>
                    <a:pt x="424" y="588"/>
                  </a:lnTo>
                  <a:lnTo>
                    <a:pt x="438" y="581"/>
                  </a:lnTo>
                  <a:lnTo>
                    <a:pt x="451" y="575"/>
                  </a:lnTo>
                  <a:lnTo>
                    <a:pt x="464" y="567"/>
                  </a:lnTo>
                  <a:lnTo>
                    <a:pt x="475" y="560"/>
                  </a:lnTo>
                  <a:lnTo>
                    <a:pt x="488" y="551"/>
                  </a:lnTo>
                  <a:lnTo>
                    <a:pt x="499" y="543"/>
                  </a:lnTo>
                  <a:lnTo>
                    <a:pt x="511" y="533"/>
                  </a:lnTo>
                  <a:lnTo>
                    <a:pt x="522" y="522"/>
                  </a:lnTo>
                  <a:lnTo>
                    <a:pt x="531" y="511"/>
                  </a:lnTo>
                  <a:lnTo>
                    <a:pt x="541" y="501"/>
                  </a:lnTo>
                  <a:lnTo>
                    <a:pt x="550" y="489"/>
                  </a:lnTo>
                  <a:lnTo>
                    <a:pt x="558" y="477"/>
                  </a:lnTo>
                  <a:lnTo>
                    <a:pt x="567" y="465"/>
                  </a:lnTo>
                  <a:lnTo>
                    <a:pt x="574" y="452"/>
                  </a:lnTo>
                  <a:lnTo>
                    <a:pt x="581" y="438"/>
                  </a:lnTo>
                  <a:lnTo>
                    <a:pt x="587" y="426"/>
                  </a:lnTo>
                  <a:lnTo>
                    <a:pt x="592" y="412"/>
                  </a:lnTo>
                  <a:lnTo>
                    <a:pt x="597" y="398"/>
                  </a:lnTo>
                  <a:lnTo>
                    <a:pt x="601" y="383"/>
                  </a:lnTo>
                  <a:lnTo>
                    <a:pt x="604" y="368"/>
                  </a:lnTo>
                  <a:lnTo>
                    <a:pt x="608" y="353"/>
                  </a:lnTo>
                  <a:lnTo>
                    <a:pt x="610" y="338"/>
                  </a:lnTo>
                  <a:lnTo>
                    <a:pt x="611" y="323"/>
                  </a:lnTo>
                  <a:lnTo>
                    <a:pt x="611" y="306"/>
                  </a:lnTo>
                  <a:lnTo>
                    <a:pt x="611" y="290"/>
                  </a:lnTo>
                  <a:lnTo>
                    <a:pt x="610" y="275"/>
                  </a:lnTo>
                  <a:lnTo>
                    <a:pt x="608" y="260"/>
                  </a:lnTo>
                  <a:lnTo>
                    <a:pt x="604" y="245"/>
                  </a:lnTo>
                  <a:lnTo>
                    <a:pt x="601" y="230"/>
                  </a:lnTo>
                  <a:lnTo>
                    <a:pt x="597" y="215"/>
                  </a:lnTo>
                  <a:lnTo>
                    <a:pt x="592" y="201"/>
                  </a:lnTo>
                  <a:lnTo>
                    <a:pt x="587" y="187"/>
                  </a:lnTo>
                  <a:lnTo>
                    <a:pt x="581" y="174"/>
                  </a:lnTo>
                  <a:lnTo>
                    <a:pt x="574" y="160"/>
                  </a:lnTo>
                  <a:lnTo>
                    <a:pt x="567" y="149"/>
                  </a:lnTo>
                  <a:lnTo>
                    <a:pt x="558" y="136"/>
                  </a:lnTo>
                  <a:lnTo>
                    <a:pt x="550" y="124"/>
                  </a:lnTo>
                  <a:lnTo>
                    <a:pt x="541" y="112"/>
                  </a:lnTo>
                  <a:lnTo>
                    <a:pt x="531" y="101"/>
                  </a:lnTo>
                  <a:lnTo>
                    <a:pt x="522" y="91"/>
                  </a:lnTo>
                  <a:lnTo>
                    <a:pt x="511" y="80"/>
                  </a:lnTo>
                  <a:lnTo>
                    <a:pt x="499" y="70"/>
                  </a:lnTo>
                  <a:lnTo>
                    <a:pt x="488" y="62"/>
                  </a:lnTo>
                  <a:lnTo>
                    <a:pt x="475" y="53"/>
                  </a:lnTo>
                  <a:lnTo>
                    <a:pt x="464" y="45"/>
                  </a:lnTo>
                  <a:lnTo>
                    <a:pt x="451" y="38"/>
                  </a:lnTo>
                  <a:lnTo>
                    <a:pt x="438" y="30"/>
                  </a:lnTo>
                  <a:lnTo>
                    <a:pt x="424" y="25"/>
                  </a:lnTo>
                  <a:lnTo>
                    <a:pt x="410" y="20"/>
                  </a:lnTo>
                  <a:lnTo>
                    <a:pt x="396" y="14"/>
                  </a:lnTo>
                  <a:lnTo>
                    <a:pt x="381" y="10"/>
                  </a:lnTo>
                  <a:lnTo>
                    <a:pt x="367" y="7"/>
                  </a:lnTo>
                  <a:lnTo>
                    <a:pt x="352" y="4"/>
                  </a:lnTo>
                  <a:lnTo>
                    <a:pt x="337" y="3"/>
                  </a:lnTo>
                  <a:lnTo>
                    <a:pt x="321" y="1"/>
                  </a:lnTo>
                  <a:lnTo>
                    <a:pt x="3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7">
              <a:extLst>
                <a:ext uri="{FF2B5EF4-FFF2-40B4-BE49-F238E27FC236}">
                  <a16:creationId xmlns:a16="http://schemas.microsoft.com/office/drawing/2014/main" id="{B2EC3EE8-0BA6-4519-A6E5-DD3E6B660223}"/>
                </a:ext>
              </a:extLst>
            </p:cNvPr>
            <p:cNvSpPr>
              <a:spLocks/>
            </p:cNvSpPr>
            <p:nvPr/>
          </p:nvSpPr>
          <p:spPr bwMode="auto">
            <a:xfrm>
              <a:off x="2159757" y="6577403"/>
              <a:ext cx="67263" cy="95662"/>
            </a:xfrm>
            <a:custGeom>
              <a:avLst/>
              <a:gdLst>
                <a:gd name="T0" fmla="*/ 80 w 178"/>
                <a:gd name="T1" fmla="*/ 0 h 254"/>
                <a:gd name="T2" fmla="*/ 63 w 178"/>
                <a:gd name="T3" fmla="*/ 3 h 254"/>
                <a:gd name="T4" fmla="*/ 47 w 178"/>
                <a:gd name="T5" fmla="*/ 11 h 254"/>
                <a:gd name="T6" fmla="*/ 33 w 178"/>
                <a:gd name="T7" fmla="*/ 20 h 254"/>
                <a:gd name="T8" fmla="*/ 20 w 178"/>
                <a:gd name="T9" fmla="*/ 32 h 254"/>
                <a:gd name="T10" fmla="*/ 10 w 178"/>
                <a:gd name="T11" fmla="*/ 46 h 254"/>
                <a:gd name="T12" fmla="*/ 4 w 178"/>
                <a:gd name="T13" fmla="*/ 62 h 254"/>
                <a:gd name="T14" fmla="*/ 1 w 178"/>
                <a:gd name="T15" fmla="*/ 79 h 254"/>
                <a:gd name="T16" fmla="*/ 1 w 178"/>
                <a:gd name="T17" fmla="*/ 93 h 254"/>
                <a:gd name="T18" fmla="*/ 8 w 178"/>
                <a:gd name="T19" fmla="*/ 101 h 254"/>
                <a:gd name="T20" fmla="*/ 18 w 178"/>
                <a:gd name="T21" fmla="*/ 101 h 254"/>
                <a:gd name="T22" fmla="*/ 24 w 178"/>
                <a:gd name="T23" fmla="*/ 93 h 254"/>
                <a:gd name="T24" fmla="*/ 25 w 178"/>
                <a:gd name="T25" fmla="*/ 83 h 254"/>
                <a:gd name="T26" fmla="*/ 29 w 178"/>
                <a:gd name="T27" fmla="*/ 70 h 254"/>
                <a:gd name="T28" fmla="*/ 33 w 178"/>
                <a:gd name="T29" fmla="*/ 59 h 254"/>
                <a:gd name="T30" fmla="*/ 40 w 178"/>
                <a:gd name="T31" fmla="*/ 48 h 254"/>
                <a:gd name="T32" fmla="*/ 49 w 178"/>
                <a:gd name="T33" fmla="*/ 40 h 254"/>
                <a:gd name="T34" fmla="*/ 59 w 178"/>
                <a:gd name="T35" fmla="*/ 33 h 254"/>
                <a:gd name="T36" fmla="*/ 71 w 178"/>
                <a:gd name="T37" fmla="*/ 28 h 254"/>
                <a:gd name="T38" fmla="*/ 82 w 178"/>
                <a:gd name="T39" fmla="*/ 26 h 254"/>
                <a:gd name="T40" fmla="*/ 95 w 178"/>
                <a:gd name="T41" fmla="*/ 26 h 254"/>
                <a:gd name="T42" fmla="*/ 108 w 178"/>
                <a:gd name="T43" fmla="*/ 28 h 254"/>
                <a:gd name="T44" fmla="*/ 120 w 178"/>
                <a:gd name="T45" fmla="*/ 33 h 254"/>
                <a:gd name="T46" fmla="*/ 130 w 178"/>
                <a:gd name="T47" fmla="*/ 40 h 254"/>
                <a:gd name="T48" fmla="*/ 138 w 178"/>
                <a:gd name="T49" fmla="*/ 48 h 254"/>
                <a:gd name="T50" fmla="*/ 146 w 178"/>
                <a:gd name="T51" fmla="*/ 59 h 254"/>
                <a:gd name="T52" fmla="*/ 150 w 178"/>
                <a:gd name="T53" fmla="*/ 70 h 254"/>
                <a:gd name="T54" fmla="*/ 152 w 178"/>
                <a:gd name="T55" fmla="*/ 83 h 254"/>
                <a:gd name="T56" fmla="*/ 152 w 178"/>
                <a:gd name="T57" fmla="*/ 95 h 254"/>
                <a:gd name="T58" fmla="*/ 150 w 178"/>
                <a:gd name="T59" fmla="*/ 107 h 254"/>
                <a:gd name="T60" fmla="*/ 146 w 178"/>
                <a:gd name="T61" fmla="*/ 119 h 254"/>
                <a:gd name="T62" fmla="*/ 138 w 178"/>
                <a:gd name="T63" fmla="*/ 129 h 254"/>
                <a:gd name="T64" fmla="*/ 130 w 178"/>
                <a:gd name="T65" fmla="*/ 137 h 254"/>
                <a:gd name="T66" fmla="*/ 120 w 178"/>
                <a:gd name="T67" fmla="*/ 145 h 254"/>
                <a:gd name="T68" fmla="*/ 108 w 178"/>
                <a:gd name="T69" fmla="*/ 149 h 254"/>
                <a:gd name="T70" fmla="*/ 95 w 178"/>
                <a:gd name="T71" fmla="*/ 152 h 254"/>
                <a:gd name="T72" fmla="*/ 84 w 178"/>
                <a:gd name="T73" fmla="*/ 153 h 254"/>
                <a:gd name="T74" fmla="*/ 78 w 178"/>
                <a:gd name="T75" fmla="*/ 160 h 254"/>
                <a:gd name="T76" fmla="*/ 77 w 178"/>
                <a:gd name="T77" fmla="*/ 242 h 254"/>
                <a:gd name="T78" fmla="*/ 80 w 178"/>
                <a:gd name="T79" fmla="*/ 250 h 254"/>
                <a:gd name="T80" fmla="*/ 89 w 178"/>
                <a:gd name="T81" fmla="*/ 254 h 254"/>
                <a:gd name="T82" fmla="*/ 98 w 178"/>
                <a:gd name="T83" fmla="*/ 250 h 254"/>
                <a:gd name="T84" fmla="*/ 102 w 178"/>
                <a:gd name="T85" fmla="*/ 242 h 254"/>
                <a:gd name="T86" fmla="*/ 110 w 178"/>
                <a:gd name="T87" fmla="*/ 176 h 254"/>
                <a:gd name="T88" fmla="*/ 125 w 178"/>
                <a:gd name="T89" fmla="*/ 171 h 254"/>
                <a:gd name="T90" fmla="*/ 139 w 178"/>
                <a:gd name="T91" fmla="*/ 163 h 254"/>
                <a:gd name="T92" fmla="*/ 151 w 178"/>
                <a:gd name="T93" fmla="*/ 153 h 254"/>
                <a:gd name="T94" fmla="*/ 161 w 178"/>
                <a:gd name="T95" fmla="*/ 142 h 254"/>
                <a:gd name="T96" fmla="*/ 169 w 178"/>
                <a:gd name="T97" fmla="*/ 128 h 254"/>
                <a:gd name="T98" fmla="*/ 175 w 178"/>
                <a:gd name="T99" fmla="*/ 114 h 254"/>
                <a:gd name="T100" fmla="*/ 178 w 178"/>
                <a:gd name="T101" fmla="*/ 97 h 254"/>
                <a:gd name="T102" fmla="*/ 178 w 178"/>
                <a:gd name="T103" fmla="*/ 79 h 254"/>
                <a:gd name="T104" fmla="*/ 175 w 178"/>
                <a:gd name="T105" fmla="*/ 62 h 254"/>
                <a:gd name="T106" fmla="*/ 167 w 178"/>
                <a:gd name="T107" fmla="*/ 46 h 254"/>
                <a:gd name="T108" fmla="*/ 157 w 178"/>
                <a:gd name="T109" fmla="*/ 32 h 254"/>
                <a:gd name="T110" fmla="*/ 146 w 178"/>
                <a:gd name="T111" fmla="*/ 20 h 254"/>
                <a:gd name="T112" fmla="*/ 132 w 178"/>
                <a:gd name="T113" fmla="*/ 11 h 254"/>
                <a:gd name="T114" fmla="*/ 116 w 178"/>
                <a:gd name="T115" fmla="*/ 3 h 254"/>
                <a:gd name="T116" fmla="*/ 98 w 178"/>
                <a:gd name="T11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8" h="254">
                  <a:moveTo>
                    <a:pt x="89" y="0"/>
                  </a:moveTo>
                  <a:lnTo>
                    <a:pt x="80" y="0"/>
                  </a:lnTo>
                  <a:lnTo>
                    <a:pt x="72" y="1"/>
                  </a:lnTo>
                  <a:lnTo>
                    <a:pt x="63" y="3"/>
                  </a:lnTo>
                  <a:lnTo>
                    <a:pt x="54" y="6"/>
                  </a:lnTo>
                  <a:lnTo>
                    <a:pt x="47" y="11"/>
                  </a:lnTo>
                  <a:lnTo>
                    <a:pt x="39" y="15"/>
                  </a:lnTo>
                  <a:lnTo>
                    <a:pt x="33" y="20"/>
                  </a:lnTo>
                  <a:lnTo>
                    <a:pt x="26" y="26"/>
                  </a:lnTo>
                  <a:lnTo>
                    <a:pt x="20" y="32"/>
                  </a:lnTo>
                  <a:lnTo>
                    <a:pt x="16" y="39"/>
                  </a:lnTo>
                  <a:lnTo>
                    <a:pt x="10" y="46"/>
                  </a:lnTo>
                  <a:lnTo>
                    <a:pt x="7" y="55"/>
                  </a:lnTo>
                  <a:lnTo>
                    <a:pt x="4" y="62"/>
                  </a:lnTo>
                  <a:lnTo>
                    <a:pt x="2" y="71"/>
                  </a:lnTo>
                  <a:lnTo>
                    <a:pt x="1" y="79"/>
                  </a:lnTo>
                  <a:lnTo>
                    <a:pt x="0" y="89"/>
                  </a:lnTo>
                  <a:lnTo>
                    <a:pt x="1" y="93"/>
                  </a:lnTo>
                  <a:lnTo>
                    <a:pt x="4" y="98"/>
                  </a:lnTo>
                  <a:lnTo>
                    <a:pt x="8" y="101"/>
                  </a:lnTo>
                  <a:lnTo>
                    <a:pt x="13" y="101"/>
                  </a:lnTo>
                  <a:lnTo>
                    <a:pt x="18" y="101"/>
                  </a:lnTo>
                  <a:lnTo>
                    <a:pt x="22" y="98"/>
                  </a:lnTo>
                  <a:lnTo>
                    <a:pt x="24" y="93"/>
                  </a:lnTo>
                  <a:lnTo>
                    <a:pt x="25" y="89"/>
                  </a:lnTo>
                  <a:lnTo>
                    <a:pt x="25" y="83"/>
                  </a:lnTo>
                  <a:lnTo>
                    <a:pt x="26" y="76"/>
                  </a:lnTo>
                  <a:lnTo>
                    <a:pt x="29" y="70"/>
                  </a:lnTo>
                  <a:lnTo>
                    <a:pt x="31" y="64"/>
                  </a:lnTo>
                  <a:lnTo>
                    <a:pt x="33" y="59"/>
                  </a:lnTo>
                  <a:lnTo>
                    <a:pt x="36" y="54"/>
                  </a:lnTo>
                  <a:lnTo>
                    <a:pt x="40" y="48"/>
                  </a:lnTo>
                  <a:lnTo>
                    <a:pt x="45" y="44"/>
                  </a:lnTo>
                  <a:lnTo>
                    <a:pt x="49" y="40"/>
                  </a:lnTo>
                  <a:lnTo>
                    <a:pt x="53" y="36"/>
                  </a:lnTo>
                  <a:lnTo>
                    <a:pt x="59" y="33"/>
                  </a:lnTo>
                  <a:lnTo>
                    <a:pt x="64" y="30"/>
                  </a:lnTo>
                  <a:lnTo>
                    <a:pt x="71" y="28"/>
                  </a:lnTo>
                  <a:lnTo>
                    <a:pt x="77" y="26"/>
                  </a:lnTo>
                  <a:lnTo>
                    <a:pt x="82" y="26"/>
                  </a:lnTo>
                  <a:lnTo>
                    <a:pt x="89" y="25"/>
                  </a:lnTo>
                  <a:lnTo>
                    <a:pt x="95" y="26"/>
                  </a:lnTo>
                  <a:lnTo>
                    <a:pt x="102" y="26"/>
                  </a:lnTo>
                  <a:lnTo>
                    <a:pt x="108" y="28"/>
                  </a:lnTo>
                  <a:lnTo>
                    <a:pt x="115" y="30"/>
                  </a:lnTo>
                  <a:lnTo>
                    <a:pt x="120" y="33"/>
                  </a:lnTo>
                  <a:lnTo>
                    <a:pt x="125" y="36"/>
                  </a:lnTo>
                  <a:lnTo>
                    <a:pt x="130" y="40"/>
                  </a:lnTo>
                  <a:lnTo>
                    <a:pt x="134" y="44"/>
                  </a:lnTo>
                  <a:lnTo>
                    <a:pt x="138" y="48"/>
                  </a:lnTo>
                  <a:lnTo>
                    <a:pt x="142" y="54"/>
                  </a:lnTo>
                  <a:lnTo>
                    <a:pt x="146" y="59"/>
                  </a:lnTo>
                  <a:lnTo>
                    <a:pt x="148" y="64"/>
                  </a:lnTo>
                  <a:lnTo>
                    <a:pt x="150" y="70"/>
                  </a:lnTo>
                  <a:lnTo>
                    <a:pt x="152" y="76"/>
                  </a:lnTo>
                  <a:lnTo>
                    <a:pt x="152" y="83"/>
                  </a:lnTo>
                  <a:lnTo>
                    <a:pt x="153" y="89"/>
                  </a:lnTo>
                  <a:lnTo>
                    <a:pt x="152" y="95"/>
                  </a:lnTo>
                  <a:lnTo>
                    <a:pt x="152" y="102"/>
                  </a:lnTo>
                  <a:lnTo>
                    <a:pt x="150" y="107"/>
                  </a:lnTo>
                  <a:lnTo>
                    <a:pt x="148" y="114"/>
                  </a:lnTo>
                  <a:lnTo>
                    <a:pt x="146" y="119"/>
                  </a:lnTo>
                  <a:lnTo>
                    <a:pt x="142" y="124"/>
                  </a:lnTo>
                  <a:lnTo>
                    <a:pt x="138" y="129"/>
                  </a:lnTo>
                  <a:lnTo>
                    <a:pt x="134" y="134"/>
                  </a:lnTo>
                  <a:lnTo>
                    <a:pt x="130" y="137"/>
                  </a:lnTo>
                  <a:lnTo>
                    <a:pt x="125" y="142"/>
                  </a:lnTo>
                  <a:lnTo>
                    <a:pt x="120" y="145"/>
                  </a:lnTo>
                  <a:lnTo>
                    <a:pt x="115" y="147"/>
                  </a:lnTo>
                  <a:lnTo>
                    <a:pt x="108" y="149"/>
                  </a:lnTo>
                  <a:lnTo>
                    <a:pt x="102" y="151"/>
                  </a:lnTo>
                  <a:lnTo>
                    <a:pt x="95" y="152"/>
                  </a:lnTo>
                  <a:lnTo>
                    <a:pt x="89" y="152"/>
                  </a:lnTo>
                  <a:lnTo>
                    <a:pt x="84" y="153"/>
                  </a:lnTo>
                  <a:lnTo>
                    <a:pt x="80" y="157"/>
                  </a:lnTo>
                  <a:lnTo>
                    <a:pt x="78" y="160"/>
                  </a:lnTo>
                  <a:lnTo>
                    <a:pt x="77" y="165"/>
                  </a:lnTo>
                  <a:lnTo>
                    <a:pt x="77" y="242"/>
                  </a:lnTo>
                  <a:lnTo>
                    <a:pt x="78" y="247"/>
                  </a:lnTo>
                  <a:lnTo>
                    <a:pt x="80" y="250"/>
                  </a:lnTo>
                  <a:lnTo>
                    <a:pt x="84" y="253"/>
                  </a:lnTo>
                  <a:lnTo>
                    <a:pt x="89" y="254"/>
                  </a:lnTo>
                  <a:lnTo>
                    <a:pt x="94" y="253"/>
                  </a:lnTo>
                  <a:lnTo>
                    <a:pt x="98" y="250"/>
                  </a:lnTo>
                  <a:lnTo>
                    <a:pt x="101" y="247"/>
                  </a:lnTo>
                  <a:lnTo>
                    <a:pt x="102" y="242"/>
                  </a:lnTo>
                  <a:lnTo>
                    <a:pt x="102" y="178"/>
                  </a:lnTo>
                  <a:lnTo>
                    <a:pt x="110" y="176"/>
                  </a:lnTo>
                  <a:lnTo>
                    <a:pt x="118" y="174"/>
                  </a:lnTo>
                  <a:lnTo>
                    <a:pt x="125" y="171"/>
                  </a:lnTo>
                  <a:lnTo>
                    <a:pt x="132" y="167"/>
                  </a:lnTo>
                  <a:lnTo>
                    <a:pt x="139" y="163"/>
                  </a:lnTo>
                  <a:lnTo>
                    <a:pt x="145" y="159"/>
                  </a:lnTo>
                  <a:lnTo>
                    <a:pt x="151" y="153"/>
                  </a:lnTo>
                  <a:lnTo>
                    <a:pt x="156" y="148"/>
                  </a:lnTo>
                  <a:lnTo>
                    <a:pt x="161" y="142"/>
                  </a:lnTo>
                  <a:lnTo>
                    <a:pt x="166" y="135"/>
                  </a:lnTo>
                  <a:lnTo>
                    <a:pt x="169" y="128"/>
                  </a:lnTo>
                  <a:lnTo>
                    <a:pt x="172" y="121"/>
                  </a:lnTo>
                  <a:lnTo>
                    <a:pt x="175" y="114"/>
                  </a:lnTo>
                  <a:lnTo>
                    <a:pt x="177" y="105"/>
                  </a:lnTo>
                  <a:lnTo>
                    <a:pt x="178" y="97"/>
                  </a:lnTo>
                  <a:lnTo>
                    <a:pt x="178" y="89"/>
                  </a:lnTo>
                  <a:lnTo>
                    <a:pt x="178" y="79"/>
                  </a:lnTo>
                  <a:lnTo>
                    <a:pt x="177" y="71"/>
                  </a:lnTo>
                  <a:lnTo>
                    <a:pt x="175" y="62"/>
                  </a:lnTo>
                  <a:lnTo>
                    <a:pt x="171" y="55"/>
                  </a:lnTo>
                  <a:lnTo>
                    <a:pt x="167" y="46"/>
                  </a:lnTo>
                  <a:lnTo>
                    <a:pt x="163" y="39"/>
                  </a:lnTo>
                  <a:lnTo>
                    <a:pt x="157" y="32"/>
                  </a:lnTo>
                  <a:lnTo>
                    <a:pt x="152" y="26"/>
                  </a:lnTo>
                  <a:lnTo>
                    <a:pt x="146" y="20"/>
                  </a:lnTo>
                  <a:lnTo>
                    <a:pt x="139" y="15"/>
                  </a:lnTo>
                  <a:lnTo>
                    <a:pt x="132" y="11"/>
                  </a:lnTo>
                  <a:lnTo>
                    <a:pt x="124" y="6"/>
                  </a:lnTo>
                  <a:lnTo>
                    <a:pt x="116" y="3"/>
                  </a:lnTo>
                  <a:lnTo>
                    <a:pt x="107" y="1"/>
                  </a:lnTo>
                  <a:lnTo>
                    <a:pt x="98"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a:extLst>
              <a:ext uri="{FF2B5EF4-FFF2-40B4-BE49-F238E27FC236}">
                <a16:creationId xmlns:a16="http://schemas.microsoft.com/office/drawing/2014/main" id="{67EC3014-679D-48D6-8FD5-F8134B5323DA}"/>
              </a:ext>
            </a:extLst>
          </p:cNvPr>
          <p:cNvGrpSpPr/>
          <p:nvPr/>
        </p:nvGrpSpPr>
        <p:grpSpPr>
          <a:xfrm>
            <a:off x="7736781" y="2787467"/>
            <a:ext cx="526511" cy="526511"/>
            <a:chOff x="4579938" y="814388"/>
            <a:chExt cx="303213" cy="303213"/>
          </a:xfrm>
          <a:solidFill>
            <a:schemeClr val="accent4"/>
          </a:solidFill>
        </p:grpSpPr>
        <p:sp>
          <p:nvSpPr>
            <p:cNvPr id="107" name="Freeform 16">
              <a:extLst>
                <a:ext uri="{FF2B5EF4-FFF2-40B4-BE49-F238E27FC236}">
                  <a16:creationId xmlns:a16="http://schemas.microsoft.com/office/drawing/2014/main" id="{84A77005-B64B-4802-B29B-6CBC45D7971F}"/>
                </a:ext>
              </a:extLst>
            </p:cNvPr>
            <p:cNvSpPr>
              <a:spLocks/>
            </p:cNvSpPr>
            <p:nvPr/>
          </p:nvSpPr>
          <p:spPr bwMode="auto">
            <a:xfrm>
              <a:off x="4662488" y="915988"/>
              <a:ext cx="138113" cy="100013"/>
            </a:xfrm>
            <a:custGeom>
              <a:avLst/>
              <a:gdLst>
                <a:gd name="T0" fmla="*/ 93 w 346"/>
                <a:gd name="T1" fmla="*/ 250 h 250"/>
                <a:gd name="T2" fmla="*/ 88 w 346"/>
                <a:gd name="T3" fmla="*/ 250 h 250"/>
                <a:gd name="T4" fmla="*/ 84 w 346"/>
                <a:gd name="T5" fmla="*/ 247 h 250"/>
                <a:gd name="T6" fmla="*/ 4 w 346"/>
                <a:gd name="T7" fmla="*/ 167 h 250"/>
                <a:gd name="T8" fmla="*/ 0 w 346"/>
                <a:gd name="T9" fmla="*/ 162 h 250"/>
                <a:gd name="T10" fmla="*/ 0 w 346"/>
                <a:gd name="T11" fmla="*/ 157 h 250"/>
                <a:gd name="T12" fmla="*/ 0 w 346"/>
                <a:gd name="T13" fmla="*/ 153 h 250"/>
                <a:gd name="T14" fmla="*/ 4 w 346"/>
                <a:gd name="T15" fmla="*/ 149 h 250"/>
                <a:gd name="T16" fmla="*/ 8 w 346"/>
                <a:gd name="T17" fmla="*/ 146 h 250"/>
                <a:gd name="T18" fmla="*/ 12 w 346"/>
                <a:gd name="T19" fmla="*/ 145 h 250"/>
                <a:gd name="T20" fmla="*/ 17 w 346"/>
                <a:gd name="T21" fmla="*/ 146 h 250"/>
                <a:gd name="T22" fmla="*/ 22 w 346"/>
                <a:gd name="T23" fmla="*/ 149 h 250"/>
                <a:gd name="T24" fmla="*/ 94 w 346"/>
                <a:gd name="T25" fmla="*/ 220 h 250"/>
                <a:gd name="T26" fmla="*/ 325 w 346"/>
                <a:gd name="T27" fmla="*/ 3 h 250"/>
                <a:gd name="T28" fmla="*/ 329 w 346"/>
                <a:gd name="T29" fmla="*/ 1 h 250"/>
                <a:gd name="T30" fmla="*/ 334 w 346"/>
                <a:gd name="T31" fmla="*/ 0 h 250"/>
                <a:gd name="T32" fmla="*/ 339 w 346"/>
                <a:gd name="T33" fmla="*/ 1 h 250"/>
                <a:gd name="T34" fmla="*/ 343 w 346"/>
                <a:gd name="T35" fmla="*/ 3 h 250"/>
                <a:gd name="T36" fmla="*/ 346 w 346"/>
                <a:gd name="T37" fmla="*/ 8 h 250"/>
                <a:gd name="T38" fmla="*/ 346 w 346"/>
                <a:gd name="T39" fmla="*/ 13 h 250"/>
                <a:gd name="T40" fmla="*/ 345 w 346"/>
                <a:gd name="T41" fmla="*/ 18 h 250"/>
                <a:gd name="T42" fmla="*/ 343 w 346"/>
                <a:gd name="T43" fmla="*/ 22 h 250"/>
                <a:gd name="T44" fmla="*/ 101 w 346"/>
                <a:gd name="T45" fmla="*/ 247 h 250"/>
                <a:gd name="T46" fmla="*/ 98 w 346"/>
                <a:gd name="T47" fmla="*/ 250 h 250"/>
                <a:gd name="T48" fmla="*/ 93 w 346"/>
                <a:gd name="T4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250">
                  <a:moveTo>
                    <a:pt x="93" y="250"/>
                  </a:moveTo>
                  <a:lnTo>
                    <a:pt x="88" y="250"/>
                  </a:lnTo>
                  <a:lnTo>
                    <a:pt x="84" y="247"/>
                  </a:lnTo>
                  <a:lnTo>
                    <a:pt x="4" y="167"/>
                  </a:lnTo>
                  <a:lnTo>
                    <a:pt x="0" y="162"/>
                  </a:lnTo>
                  <a:lnTo>
                    <a:pt x="0" y="157"/>
                  </a:lnTo>
                  <a:lnTo>
                    <a:pt x="0" y="153"/>
                  </a:lnTo>
                  <a:lnTo>
                    <a:pt x="4" y="149"/>
                  </a:lnTo>
                  <a:lnTo>
                    <a:pt x="8" y="146"/>
                  </a:lnTo>
                  <a:lnTo>
                    <a:pt x="12" y="145"/>
                  </a:lnTo>
                  <a:lnTo>
                    <a:pt x="17" y="146"/>
                  </a:lnTo>
                  <a:lnTo>
                    <a:pt x="22" y="149"/>
                  </a:lnTo>
                  <a:lnTo>
                    <a:pt x="94" y="220"/>
                  </a:lnTo>
                  <a:lnTo>
                    <a:pt x="325" y="3"/>
                  </a:lnTo>
                  <a:lnTo>
                    <a:pt x="329" y="1"/>
                  </a:lnTo>
                  <a:lnTo>
                    <a:pt x="334" y="0"/>
                  </a:lnTo>
                  <a:lnTo>
                    <a:pt x="339" y="1"/>
                  </a:lnTo>
                  <a:lnTo>
                    <a:pt x="343" y="3"/>
                  </a:lnTo>
                  <a:lnTo>
                    <a:pt x="346" y="8"/>
                  </a:lnTo>
                  <a:lnTo>
                    <a:pt x="346" y="13"/>
                  </a:lnTo>
                  <a:lnTo>
                    <a:pt x="345" y="18"/>
                  </a:lnTo>
                  <a:lnTo>
                    <a:pt x="343" y="22"/>
                  </a:lnTo>
                  <a:lnTo>
                    <a:pt x="101" y="247"/>
                  </a:lnTo>
                  <a:lnTo>
                    <a:pt x="98" y="250"/>
                  </a:lnTo>
                  <a:lnTo>
                    <a:pt x="93"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7">
              <a:extLst>
                <a:ext uri="{FF2B5EF4-FFF2-40B4-BE49-F238E27FC236}">
                  <a16:creationId xmlns:a16="http://schemas.microsoft.com/office/drawing/2014/main" id="{88D48510-0BF3-4100-97A5-7D36E593318D}"/>
                </a:ext>
              </a:extLst>
            </p:cNvPr>
            <p:cNvSpPr>
              <a:spLocks noEditPoints="1"/>
            </p:cNvSpPr>
            <p:nvPr/>
          </p:nvSpPr>
          <p:spPr bwMode="auto">
            <a:xfrm>
              <a:off x="4579938" y="814388"/>
              <a:ext cx="303213" cy="303213"/>
            </a:xfrm>
            <a:custGeom>
              <a:avLst/>
              <a:gdLst>
                <a:gd name="T0" fmla="*/ 349 w 764"/>
                <a:gd name="T1" fmla="*/ 727 h 765"/>
                <a:gd name="T2" fmla="*/ 430 w 764"/>
                <a:gd name="T3" fmla="*/ 706 h 765"/>
                <a:gd name="T4" fmla="*/ 468 w 764"/>
                <a:gd name="T5" fmla="*/ 706 h 765"/>
                <a:gd name="T6" fmla="*/ 548 w 764"/>
                <a:gd name="T7" fmla="*/ 681 h 765"/>
                <a:gd name="T8" fmla="*/ 569 w 764"/>
                <a:gd name="T9" fmla="*/ 642 h 765"/>
                <a:gd name="T10" fmla="*/ 647 w 764"/>
                <a:gd name="T11" fmla="*/ 613 h 765"/>
                <a:gd name="T12" fmla="*/ 646 w 764"/>
                <a:gd name="T13" fmla="*/ 551 h 765"/>
                <a:gd name="T14" fmla="*/ 709 w 764"/>
                <a:gd name="T15" fmla="*/ 527 h 765"/>
                <a:gd name="T16" fmla="*/ 687 w 764"/>
                <a:gd name="T17" fmla="*/ 451 h 765"/>
                <a:gd name="T18" fmla="*/ 732 w 764"/>
                <a:gd name="T19" fmla="*/ 410 h 765"/>
                <a:gd name="T20" fmla="*/ 697 w 764"/>
                <a:gd name="T21" fmla="*/ 333 h 765"/>
                <a:gd name="T22" fmla="*/ 710 w 764"/>
                <a:gd name="T23" fmla="*/ 290 h 765"/>
                <a:gd name="T24" fmla="*/ 680 w 764"/>
                <a:gd name="T25" fmla="*/ 217 h 765"/>
                <a:gd name="T26" fmla="*/ 639 w 764"/>
                <a:gd name="T27" fmla="*/ 200 h 765"/>
                <a:gd name="T28" fmla="*/ 619 w 764"/>
                <a:gd name="T29" fmla="*/ 121 h 765"/>
                <a:gd name="T30" fmla="*/ 552 w 764"/>
                <a:gd name="T31" fmla="*/ 123 h 765"/>
                <a:gd name="T32" fmla="*/ 519 w 764"/>
                <a:gd name="T33" fmla="*/ 54 h 765"/>
                <a:gd name="T34" fmla="*/ 447 w 764"/>
                <a:gd name="T35" fmla="*/ 79 h 765"/>
                <a:gd name="T36" fmla="*/ 399 w 764"/>
                <a:gd name="T37" fmla="*/ 29 h 765"/>
                <a:gd name="T38" fmla="*/ 331 w 764"/>
                <a:gd name="T39" fmla="*/ 72 h 765"/>
                <a:gd name="T40" fmla="*/ 280 w 764"/>
                <a:gd name="T41" fmla="*/ 52 h 765"/>
                <a:gd name="T42" fmla="*/ 214 w 764"/>
                <a:gd name="T43" fmla="*/ 103 h 765"/>
                <a:gd name="T44" fmla="*/ 179 w 764"/>
                <a:gd name="T45" fmla="*/ 119 h 765"/>
                <a:gd name="T46" fmla="*/ 115 w 764"/>
                <a:gd name="T47" fmla="*/ 171 h 765"/>
                <a:gd name="T48" fmla="*/ 111 w 764"/>
                <a:gd name="T49" fmla="*/ 216 h 765"/>
                <a:gd name="T50" fmla="*/ 49 w 764"/>
                <a:gd name="T51" fmla="*/ 273 h 765"/>
                <a:gd name="T52" fmla="*/ 74 w 764"/>
                <a:gd name="T53" fmla="*/ 329 h 765"/>
                <a:gd name="T54" fmla="*/ 27 w 764"/>
                <a:gd name="T55" fmla="*/ 392 h 765"/>
                <a:gd name="T56" fmla="*/ 77 w 764"/>
                <a:gd name="T57" fmla="*/ 444 h 765"/>
                <a:gd name="T58" fmla="*/ 50 w 764"/>
                <a:gd name="T59" fmla="*/ 512 h 765"/>
                <a:gd name="T60" fmla="*/ 111 w 764"/>
                <a:gd name="T61" fmla="*/ 551 h 765"/>
                <a:gd name="T62" fmla="*/ 115 w 764"/>
                <a:gd name="T63" fmla="*/ 595 h 765"/>
                <a:gd name="T64" fmla="*/ 179 w 764"/>
                <a:gd name="T65" fmla="*/ 649 h 765"/>
                <a:gd name="T66" fmla="*/ 214 w 764"/>
                <a:gd name="T67" fmla="*/ 663 h 765"/>
                <a:gd name="T68" fmla="*/ 280 w 764"/>
                <a:gd name="T69" fmla="*/ 713 h 765"/>
                <a:gd name="T70" fmla="*/ 361 w 764"/>
                <a:gd name="T71" fmla="*/ 762 h 765"/>
                <a:gd name="T72" fmla="*/ 266 w 764"/>
                <a:gd name="T73" fmla="*/ 741 h 765"/>
                <a:gd name="T74" fmla="*/ 189 w 764"/>
                <a:gd name="T75" fmla="*/ 673 h 765"/>
                <a:gd name="T76" fmla="*/ 105 w 764"/>
                <a:gd name="T77" fmla="*/ 646 h 765"/>
                <a:gd name="T78" fmla="*/ 55 w 764"/>
                <a:gd name="T79" fmla="*/ 562 h 765"/>
                <a:gd name="T80" fmla="*/ 35 w 764"/>
                <a:gd name="T81" fmla="*/ 460 h 765"/>
                <a:gd name="T82" fmla="*/ 3 w 764"/>
                <a:gd name="T83" fmla="*/ 362 h 765"/>
                <a:gd name="T84" fmla="*/ 24 w 764"/>
                <a:gd name="T85" fmla="*/ 268 h 765"/>
                <a:gd name="T86" fmla="*/ 93 w 764"/>
                <a:gd name="T87" fmla="*/ 191 h 765"/>
                <a:gd name="T88" fmla="*/ 130 w 764"/>
                <a:gd name="T89" fmla="*/ 99 h 765"/>
                <a:gd name="T90" fmla="*/ 203 w 764"/>
                <a:gd name="T91" fmla="*/ 55 h 765"/>
                <a:gd name="T92" fmla="*/ 306 w 764"/>
                <a:gd name="T93" fmla="*/ 36 h 765"/>
                <a:gd name="T94" fmla="*/ 404 w 764"/>
                <a:gd name="T95" fmla="*/ 4 h 765"/>
                <a:gd name="T96" fmla="*/ 497 w 764"/>
                <a:gd name="T97" fmla="*/ 25 h 765"/>
                <a:gd name="T98" fmla="*/ 575 w 764"/>
                <a:gd name="T99" fmla="*/ 94 h 765"/>
                <a:gd name="T100" fmla="*/ 659 w 764"/>
                <a:gd name="T101" fmla="*/ 121 h 765"/>
                <a:gd name="T102" fmla="*/ 710 w 764"/>
                <a:gd name="T103" fmla="*/ 205 h 765"/>
                <a:gd name="T104" fmla="*/ 729 w 764"/>
                <a:gd name="T105" fmla="*/ 307 h 765"/>
                <a:gd name="T106" fmla="*/ 761 w 764"/>
                <a:gd name="T107" fmla="*/ 404 h 765"/>
                <a:gd name="T108" fmla="*/ 741 w 764"/>
                <a:gd name="T109" fmla="*/ 499 h 765"/>
                <a:gd name="T110" fmla="*/ 671 w 764"/>
                <a:gd name="T111" fmla="*/ 576 h 765"/>
                <a:gd name="T112" fmla="*/ 634 w 764"/>
                <a:gd name="T113" fmla="*/ 667 h 765"/>
                <a:gd name="T114" fmla="*/ 560 w 764"/>
                <a:gd name="T115" fmla="*/ 710 h 765"/>
                <a:gd name="T116" fmla="*/ 458 w 764"/>
                <a:gd name="T117" fmla="*/ 731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4" h="765">
                  <a:moveTo>
                    <a:pt x="319" y="687"/>
                  </a:moveTo>
                  <a:lnTo>
                    <a:pt x="320" y="687"/>
                  </a:lnTo>
                  <a:lnTo>
                    <a:pt x="322" y="687"/>
                  </a:lnTo>
                  <a:lnTo>
                    <a:pt x="325" y="689"/>
                  </a:lnTo>
                  <a:lnTo>
                    <a:pt x="328" y="691"/>
                  </a:lnTo>
                  <a:lnTo>
                    <a:pt x="331" y="694"/>
                  </a:lnTo>
                  <a:lnTo>
                    <a:pt x="332" y="697"/>
                  </a:lnTo>
                  <a:lnTo>
                    <a:pt x="334" y="706"/>
                  </a:lnTo>
                  <a:lnTo>
                    <a:pt x="338" y="715"/>
                  </a:lnTo>
                  <a:lnTo>
                    <a:pt x="344" y="722"/>
                  </a:lnTo>
                  <a:lnTo>
                    <a:pt x="349" y="727"/>
                  </a:lnTo>
                  <a:lnTo>
                    <a:pt x="356" y="733"/>
                  </a:lnTo>
                  <a:lnTo>
                    <a:pt x="365" y="736"/>
                  </a:lnTo>
                  <a:lnTo>
                    <a:pt x="374" y="738"/>
                  </a:lnTo>
                  <a:lnTo>
                    <a:pt x="382" y="739"/>
                  </a:lnTo>
                  <a:lnTo>
                    <a:pt x="391" y="738"/>
                  </a:lnTo>
                  <a:lnTo>
                    <a:pt x="399" y="736"/>
                  </a:lnTo>
                  <a:lnTo>
                    <a:pt x="408" y="733"/>
                  </a:lnTo>
                  <a:lnTo>
                    <a:pt x="415" y="727"/>
                  </a:lnTo>
                  <a:lnTo>
                    <a:pt x="421" y="722"/>
                  </a:lnTo>
                  <a:lnTo>
                    <a:pt x="426" y="715"/>
                  </a:lnTo>
                  <a:lnTo>
                    <a:pt x="430" y="706"/>
                  </a:lnTo>
                  <a:lnTo>
                    <a:pt x="433" y="697"/>
                  </a:lnTo>
                  <a:lnTo>
                    <a:pt x="434" y="694"/>
                  </a:lnTo>
                  <a:lnTo>
                    <a:pt x="436" y="691"/>
                  </a:lnTo>
                  <a:lnTo>
                    <a:pt x="439" y="689"/>
                  </a:lnTo>
                  <a:lnTo>
                    <a:pt x="442" y="687"/>
                  </a:lnTo>
                  <a:lnTo>
                    <a:pt x="447" y="688"/>
                  </a:lnTo>
                  <a:lnTo>
                    <a:pt x="450" y="689"/>
                  </a:lnTo>
                  <a:lnTo>
                    <a:pt x="453" y="690"/>
                  </a:lnTo>
                  <a:lnTo>
                    <a:pt x="456" y="693"/>
                  </a:lnTo>
                  <a:lnTo>
                    <a:pt x="462" y="701"/>
                  </a:lnTo>
                  <a:lnTo>
                    <a:pt x="468" y="706"/>
                  </a:lnTo>
                  <a:lnTo>
                    <a:pt x="476" y="711"/>
                  </a:lnTo>
                  <a:lnTo>
                    <a:pt x="483" y="713"/>
                  </a:lnTo>
                  <a:lnTo>
                    <a:pt x="493" y="716"/>
                  </a:lnTo>
                  <a:lnTo>
                    <a:pt x="501" y="717"/>
                  </a:lnTo>
                  <a:lnTo>
                    <a:pt x="510" y="716"/>
                  </a:lnTo>
                  <a:lnTo>
                    <a:pt x="519" y="712"/>
                  </a:lnTo>
                  <a:lnTo>
                    <a:pt x="527" y="708"/>
                  </a:lnTo>
                  <a:lnTo>
                    <a:pt x="534" y="703"/>
                  </a:lnTo>
                  <a:lnTo>
                    <a:pt x="540" y="696"/>
                  </a:lnTo>
                  <a:lnTo>
                    <a:pt x="544" y="689"/>
                  </a:lnTo>
                  <a:lnTo>
                    <a:pt x="548" y="681"/>
                  </a:lnTo>
                  <a:lnTo>
                    <a:pt x="550" y="672"/>
                  </a:lnTo>
                  <a:lnTo>
                    <a:pt x="551" y="663"/>
                  </a:lnTo>
                  <a:lnTo>
                    <a:pt x="550" y="654"/>
                  </a:lnTo>
                  <a:lnTo>
                    <a:pt x="549" y="650"/>
                  </a:lnTo>
                  <a:lnTo>
                    <a:pt x="550" y="647"/>
                  </a:lnTo>
                  <a:lnTo>
                    <a:pt x="552" y="644"/>
                  </a:lnTo>
                  <a:lnTo>
                    <a:pt x="555" y="642"/>
                  </a:lnTo>
                  <a:lnTo>
                    <a:pt x="558" y="639"/>
                  </a:lnTo>
                  <a:lnTo>
                    <a:pt x="561" y="639"/>
                  </a:lnTo>
                  <a:lnTo>
                    <a:pt x="566" y="639"/>
                  </a:lnTo>
                  <a:lnTo>
                    <a:pt x="569" y="642"/>
                  </a:lnTo>
                  <a:lnTo>
                    <a:pt x="576" y="646"/>
                  </a:lnTo>
                  <a:lnTo>
                    <a:pt x="585" y="649"/>
                  </a:lnTo>
                  <a:lnTo>
                    <a:pt x="594" y="650"/>
                  </a:lnTo>
                  <a:lnTo>
                    <a:pt x="602" y="650"/>
                  </a:lnTo>
                  <a:lnTo>
                    <a:pt x="611" y="648"/>
                  </a:lnTo>
                  <a:lnTo>
                    <a:pt x="619" y="646"/>
                  </a:lnTo>
                  <a:lnTo>
                    <a:pt x="627" y="640"/>
                  </a:lnTo>
                  <a:lnTo>
                    <a:pt x="634" y="635"/>
                  </a:lnTo>
                  <a:lnTo>
                    <a:pt x="640" y="629"/>
                  </a:lnTo>
                  <a:lnTo>
                    <a:pt x="644" y="621"/>
                  </a:lnTo>
                  <a:lnTo>
                    <a:pt x="647" y="613"/>
                  </a:lnTo>
                  <a:lnTo>
                    <a:pt x="650" y="604"/>
                  </a:lnTo>
                  <a:lnTo>
                    <a:pt x="650" y="595"/>
                  </a:lnTo>
                  <a:lnTo>
                    <a:pt x="647" y="587"/>
                  </a:lnTo>
                  <a:lnTo>
                    <a:pt x="645" y="578"/>
                  </a:lnTo>
                  <a:lnTo>
                    <a:pt x="640" y="570"/>
                  </a:lnTo>
                  <a:lnTo>
                    <a:pt x="639" y="566"/>
                  </a:lnTo>
                  <a:lnTo>
                    <a:pt x="638" y="563"/>
                  </a:lnTo>
                  <a:lnTo>
                    <a:pt x="639" y="559"/>
                  </a:lnTo>
                  <a:lnTo>
                    <a:pt x="640" y="556"/>
                  </a:lnTo>
                  <a:lnTo>
                    <a:pt x="643" y="552"/>
                  </a:lnTo>
                  <a:lnTo>
                    <a:pt x="646" y="551"/>
                  </a:lnTo>
                  <a:lnTo>
                    <a:pt x="650" y="550"/>
                  </a:lnTo>
                  <a:lnTo>
                    <a:pt x="654" y="551"/>
                  </a:lnTo>
                  <a:lnTo>
                    <a:pt x="659" y="551"/>
                  </a:lnTo>
                  <a:lnTo>
                    <a:pt x="665" y="551"/>
                  </a:lnTo>
                  <a:lnTo>
                    <a:pt x="672" y="550"/>
                  </a:lnTo>
                  <a:lnTo>
                    <a:pt x="680" y="549"/>
                  </a:lnTo>
                  <a:lnTo>
                    <a:pt x="686" y="546"/>
                  </a:lnTo>
                  <a:lnTo>
                    <a:pt x="692" y="543"/>
                  </a:lnTo>
                  <a:lnTo>
                    <a:pt x="699" y="538"/>
                  </a:lnTo>
                  <a:lnTo>
                    <a:pt x="703" y="533"/>
                  </a:lnTo>
                  <a:lnTo>
                    <a:pt x="709" y="527"/>
                  </a:lnTo>
                  <a:lnTo>
                    <a:pt x="712" y="520"/>
                  </a:lnTo>
                  <a:lnTo>
                    <a:pt x="714" y="512"/>
                  </a:lnTo>
                  <a:lnTo>
                    <a:pt x="715" y="503"/>
                  </a:lnTo>
                  <a:lnTo>
                    <a:pt x="715" y="493"/>
                  </a:lnTo>
                  <a:lnTo>
                    <a:pt x="713" y="485"/>
                  </a:lnTo>
                  <a:lnTo>
                    <a:pt x="710" y="477"/>
                  </a:lnTo>
                  <a:lnTo>
                    <a:pt x="705" y="470"/>
                  </a:lnTo>
                  <a:lnTo>
                    <a:pt x="699" y="462"/>
                  </a:lnTo>
                  <a:lnTo>
                    <a:pt x="692" y="457"/>
                  </a:lnTo>
                  <a:lnTo>
                    <a:pt x="689" y="455"/>
                  </a:lnTo>
                  <a:lnTo>
                    <a:pt x="687" y="451"/>
                  </a:lnTo>
                  <a:lnTo>
                    <a:pt x="686" y="447"/>
                  </a:lnTo>
                  <a:lnTo>
                    <a:pt x="686" y="444"/>
                  </a:lnTo>
                  <a:lnTo>
                    <a:pt x="688" y="441"/>
                  </a:lnTo>
                  <a:lnTo>
                    <a:pt x="690" y="438"/>
                  </a:lnTo>
                  <a:lnTo>
                    <a:pt x="694" y="435"/>
                  </a:lnTo>
                  <a:lnTo>
                    <a:pt x="697" y="433"/>
                  </a:lnTo>
                  <a:lnTo>
                    <a:pt x="705" y="431"/>
                  </a:lnTo>
                  <a:lnTo>
                    <a:pt x="714" y="428"/>
                  </a:lnTo>
                  <a:lnTo>
                    <a:pt x="720" y="422"/>
                  </a:lnTo>
                  <a:lnTo>
                    <a:pt x="727" y="416"/>
                  </a:lnTo>
                  <a:lnTo>
                    <a:pt x="732" y="410"/>
                  </a:lnTo>
                  <a:lnTo>
                    <a:pt x="735" y="401"/>
                  </a:lnTo>
                  <a:lnTo>
                    <a:pt x="738" y="392"/>
                  </a:lnTo>
                  <a:lnTo>
                    <a:pt x="739" y="383"/>
                  </a:lnTo>
                  <a:lnTo>
                    <a:pt x="738" y="374"/>
                  </a:lnTo>
                  <a:lnTo>
                    <a:pt x="735" y="366"/>
                  </a:lnTo>
                  <a:lnTo>
                    <a:pt x="732" y="357"/>
                  </a:lnTo>
                  <a:lnTo>
                    <a:pt x="727" y="351"/>
                  </a:lnTo>
                  <a:lnTo>
                    <a:pt x="720" y="344"/>
                  </a:lnTo>
                  <a:lnTo>
                    <a:pt x="714" y="339"/>
                  </a:lnTo>
                  <a:lnTo>
                    <a:pt x="705" y="336"/>
                  </a:lnTo>
                  <a:lnTo>
                    <a:pt x="697" y="333"/>
                  </a:lnTo>
                  <a:lnTo>
                    <a:pt x="694" y="331"/>
                  </a:lnTo>
                  <a:lnTo>
                    <a:pt x="690" y="329"/>
                  </a:lnTo>
                  <a:lnTo>
                    <a:pt x="688" y="327"/>
                  </a:lnTo>
                  <a:lnTo>
                    <a:pt x="686" y="323"/>
                  </a:lnTo>
                  <a:lnTo>
                    <a:pt x="686" y="319"/>
                  </a:lnTo>
                  <a:lnTo>
                    <a:pt x="687" y="315"/>
                  </a:lnTo>
                  <a:lnTo>
                    <a:pt x="689" y="313"/>
                  </a:lnTo>
                  <a:lnTo>
                    <a:pt x="692" y="310"/>
                  </a:lnTo>
                  <a:lnTo>
                    <a:pt x="699" y="304"/>
                  </a:lnTo>
                  <a:lnTo>
                    <a:pt x="705" y="298"/>
                  </a:lnTo>
                  <a:lnTo>
                    <a:pt x="710" y="290"/>
                  </a:lnTo>
                  <a:lnTo>
                    <a:pt x="713" y="282"/>
                  </a:lnTo>
                  <a:lnTo>
                    <a:pt x="715" y="273"/>
                  </a:lnTo>
                  <a:lnTo>
                    <a:pt x="715" y="265"/>
                  </a:lnTo>
                  <a:lnTo>
                    <a:pt x="714" y="255"/>
                  </a:lnTo>
                  <a:lnTo>
                    <a:pt x="712" y="246"/>
                  </a:lnTo>
                  <a:lnTo>
                    <a:pt x="709" y="240"/>
                  </a:lnTo>
                  <a:lnTo>
                    <a:pt x="703" y="233"/>
                  </a:lnTo>
                  <a:lnTo>
                    <a:pt x="699" y="228"/>
                  </a:lnTo>
                  <a:lnTo>
                    <a:pt x="692" y="224"/>
                  </a:lnTo>
                  <a:lnTo>
                    <a:pt x="686" y="220"/>
                  </a:lnTo>
                  <a:lnTo>
                    <a:pt x="680" y="217"/>
                  </a:lnTo>
                  <a:lnTo>
                    <a:pt x="672" y="215"/>
                  </a:lnTo>
                  <a:lnTo>
                    <a:pt x="665" y="214"/>
                  </a:lnTo>
                  <a:lnTo>
                    <a:pt x="659" y="215"/>
                  </a:lnTo>
                  <a:lnTo>
                    <a:pt x="654" y="216"/>
                  </a:lnTo>
                  <a:lnTo>
                    <a:pt x="650" y="216"/>
                  </a:lnTo>
                  <a:lnTo>
                    <a:pt x="646" y="215"/>
                  </a:lnTo>
                  <a:lnTo>
                    <a:pt x="643" y="213"/>
                  </a:lnTo>
                  <a:lnTo>
                    <a:pt x="640" y="211"/>
                  </a:lnTo>
                  <a:lnTo>
                    <a:pt x="639" y="208"/>
                  </a:lnTo>
                  <a:lnTo>
                    <a:pt x="638" y="203"/>
                  </a:lnTo>
                  <a:lnTo>
                    <a:pt x="639" y="200"/>
                  </a:lnTo>
                  <a:lnTo>
                    <a:pt x="640" y="197"/>
                  </a:lnTo>
                  <a:lnTo>
                    <a:pt x="645" y="188"/>
                  </a:lnTo>
                  <a:lnTo>
                    <a:pt x="647" y="181"/>
                  </a:lnTo>
                  <a:lnTo>
                    <a:pt x="650" y="171"/>
                  </a:lnTo>
                  <a:lnTo>
                    <a:pt x="650" y="163"/>
                  </a:lnTo>
                  <a:lnTo>
                    <a:pt x="647" y="154"/>
                  </a:lnTo>
                  <a:lnTo>
                    <a:pt x="644" y="145"/>
                  </a:lnTo>
                  <a:lnTo>
                    <a:pt x="640" y="138"/>
                  </a:lnTo>
                  <a:lnTo>
                    <a:pt x="634" y="130"/>
                  </a:lnTo>
                  <a:lnTo>
                    <a:pt x="627" y="125"/>
                  </a:lnTo>
                  <a:lnTo>
                    <a:pt x="619" y="121"/>
                  </a:lnTo>
                  <a:lnTo>
                    <a:pt x="611" y="118"/>
                  </a:lnTo>
                  <a:lnTo>
                    <a:pt x="602" y="116"/>
                  </a:lnTo>
                  <a:lnTo>
                    <a:pt x="594" y="116"/>
                  </a:lnTo>
                  <a:lnTo>
                    <a:pt x="585" y="119"/>
                  </a:lnTo>
                  <a:lnTo>
                    <a:pt x="576" y="121"/>
                  </a:lnTo>
                  <a:lnTo>
                    <a:pt x="569" y="125"/>
                  </a:lnTo>
                  <a:lnTo>
                    <a:pt x="566" y="127"/>
                  </a:lnTo>
                  <a:lnTo>
                    <a:pt x="561" y="127"/>
                  </a:lnTo>
                  <a:lnTo>
                    <a:pt x="558" y="127"/>
                  </a:lnTo>
                  <a:lnTo>
                    <a:pt x="555" y="125"/>
                  </a:lnTo>
                  <a:lnTo>
                    <a:pt x="552" y="123"/>
                  </a:lnTo>
                  <a:lnTo>
                    <a:pt x="550" y="119"/>
                  </a:lnTo>
                  <a:lnTo>
                    <a:pt x="549" y="115"/>
                  </a:lnTo>
                  <a:lnTo>
                    <a:pt x="550" y="111"/>
                  </a:lnTo>
                  <a:lnTo>
                    <a:pt x="551" y="103"/>
                  </a:lnTo>
                  <a:lnTo>
                    <a:pt x="550" y="94"/>
                  </a:lnTo>
                  <a:lnTo>
                    <a:pt x="548" y="85"/>
                  </a:lnTo>
                  <a:lnTo>
                    <a:pt x="544" y="77"/>
                  </a:lnTo>
                  <a:lnTo>
                    <a:pt x="540" y="70"/>
                  </a:lnTo>
                  <a:lnTo>
                    <a:pt x="534" y="64"/>
                  </a:lnTo>
                  <a:lnTo>
                    <a:pt x="527" y="58"/>
                  </a:lnTo>
                  <a:lnTo>
                    <a:pt x="519" y="54"/>
                  </a:lnTo>
                  <a:lnTo>
                    <a:pt x="510" y="51"/>
                  </a:lnTo>
                  <a:lnTo>
                    <a:pt x="501" y="50"/>
                  </a:lnTo>
                  <a:lnTo>
                    <a:pt x="493" y="51"/>
                  </a:lnTo>
                  <a:lnTo>
                    <a:pt x="484" y="52"/>
                  </a:lnTo>
                  <a:lnTo>
                    <a:pt x="476" y="55"/>
                  </a:lnTo>
                  <a:lnTo>
                    <a:pt x="468" y="61"/>
                  </a:lnTo>
                  <a:lnTo>
                    <a:pt x="462" y="66"/>
                  </a:lnTo>
                  <a:lnTo>
                    <a:pt x="456" y="74"/>
                  </a:lnTo>
                  <a:lnTo>
                    <a:pt x="453" y="76"/>
                  </a:lnTo>
                  <a:lnTo>
                    <a:pt x="450" y="78"/>
                  </a:lnTo>
                  <a:lnTo>
                    <a:pt x="447" y="79"/>
                  </a:lnTo>
                  <a:lnTo>
                    <a:pt x="442" y="79"/>
                  </a:lnTo>
                  <a:lnTo>
                    <a:pt x="439" y="78"/>
                  </a:lnTo>
                  <a:lnTo>
                    <a:pt x="436" y="76"/>
                  </a:lnTo>
                  <a:lnTo>
                    <a:pt x="434" y="72"/>
                  </a:lnTo>
                  <a:lnTo>
                    <a:pt x="433" y="68"/>
                  </a:lnTo>
                  <a:lnTo>
                    <a:pt x="430" y="60"/>
                  </a:lnTo>
                  <a:lnTo>
                    <a:pt x="426" y="51"/>
                  </a:lnTo>
                  <a:lnTo>
                    <a:pt x="421" y="45"/>
                  </a:lnTo>
                  <a:lnTo>
                    <a:pt x="415" y="38"/>
                  </a:lnTo>
                  <a:lnTo>
                    <a:pt x="408" y="33"/>
                  </a:lnTo>
                  <a:lnTo>
                    <a:pt x="399" y="29"/>
                  </a:lnTo>
                  <a:lnTo>
                    <a:pt x="391" y="27"/>
                  </a:lnTo>
                  <a:lnTo>
                    <a:pt x="382" y="26"/>
                  </a:lnTo>
                  <a:lnTo>
                    <a:pt x="374" y="27"/>
                  </a:lnTo>
                  <a:lnTo>
                    <a:pt x="365" y="29"/>
                  </a:lnTo>
                  <a:lnTo>
                    <a:pt x="356" y="33"/>
                  </a:lnTo>
                  <a:lnTo>
                    <a:pt x="349" y="38"/>
                  </a:lnTo>
                  <a:lnTo>
                    <a:pt x="344" y="45"/>
                  </a:lnTo>
                  <a:lnTo>
                    <a:pt x="338" y="51"/>
                  </a:lnTo>
                  <a:lnTo>
                    <a:pt x="334" y="60"/>
                  </a:lnTo>
                  <a:lnTo>
                    <a:pt x="332" y="68"/>
                  </a:lnTo>
                  <a:lnTo>
                    <a:pt x="331" y="72"/>
                  </a:lnTo>
                  <a:lnTo>
                    <a:pt x="328" y="76"/>
                  </a:lnTo>
                  <a:lnTo>
                    <a:pt x="325" y="78"/>
                  </a:lnTo>
                  <a:lnTo>
                    <a:pt x="322" y="79"/>
                  </a:lnTo>
                  <a:lnTo>
                    <a:pt x="318" y="79"/>
                  </a:lnTo>
                  <a:lnTo>
                    <a:pt x="315" y="78"/>
                  </a:lnTo>
                  <a:lnTo>
                    <a:pt x="311" y="76"/>
                  </a:lnTo>
                  <a:lnTo>
                    <a:pt x="308" y="74"/>
                  </a:lnTo>
                  <a:lnTo>
                    <a:pt x="303" y="66"/>
                  </a:lnTo>
                  <a:lnTo>
                    <a:pt x="296" y="61"/>
                  </a:lnTo>
                  <a:lnTo>
                    <a:pt x="289" y="55"/>
                  </a:lnTo>
                  <a:lnTo>
                    <a:pt x="280" y="52"/>
                  </a:lnTo>
                  <a:lnTo>
                    <a:pt x="272" y="51"/>
                  </a:lnTo>
                  <a:lnTo>
                    <a:pt x="263" y="50"/>
                  </a:lnTo>
                  <a:lnTo>
                    <a:pt x="254" y="51"/>
                  </a:lnTo>
                  <a:lnTo>
                    <a:pt x="246" y="54"/>
                  </a:lnTo>
                  <a:lnTo>
                    <a:pt x="237" y="58"/>
                  </a:lnTo>
                  <a:lnTo>
                    <a:pt x="231" y="64"/>
                  </a:lnTo>
                  <a:lnTo>
                    <a:pt x="224" y="70"/>
                  </a:lnTo>
                  <a:lnTo>
                    <a:pt x="220" y="77"/>
                  </a:lnTo>
                  <a:lnTo>
                    <a:pt x="217" y="85"/>
                  </a:lnTo>
                  <a:lnTo>
                    <a:pt x="215" y="94"/>
                  </a:lnTo>
                  <a:lnTo>
                    <a:pt x="214" y="103"/>
                  </a:lnTo>
                  <a:lnTo>
                    <a:pt x="215" y="111"/>
                  </a:lnTo>
                  <a:lnTo>
                    <a:pt x="216" y="115"/>
                  </a:lnTo>
                  <a:lnTo>
                    <a:pt x="215" y="119"/>
                  </a:lnTo>
                  <a:lnTo>
                    <a:pt x="213" y="123"/>
                  </a:lnTo>
                  <a:lnTo>
                    <a:pt x="209" y="125"/>
                  </a:lnTo>
                  <a:lnTo>
                    <a:pt x="206" y="127"/>
                  </a:lnTo>
                  <a:lnTo>
                    <a:pt x="203" y="127"/>
                  </a:lnTo>
                  <a:lnTo>
                    <a:pt x="199" y="127"/>
                  </a:lnTo>
                  <a:lnTo>
                    <a:pt x="195" y="125"/>
                  </a:lnTo>
                  <a:lnTo>
                    <a:pt x="188" y="121"/>
                  </a:lnTo>
                  <a:lnTo>
                    <a:pt x="179" y="119"/>
                  </a:lnTo>
                  <a:lnTo>
                    <a:pt x="171" y="116"/>
                  </a:lnTo>
                  <a:lnTo>
                    <a:pt x="162" y="116"/>
                  </a:lnTo>
                  <a:lnTo>
                    <a:pt x="153" y="118"/>
                  </a:lnTo>
                  <a:lnTo>
                    <a:pt x="145" y="121"/>
                  </a:lnTo>
                  <a:lnTo>
                    <a:pt x="137" y="125"/>
                  </a:lnTo>
                  <a:lnTo>
                    <a:pt x="130" y="130"/>
                  </a:lnTo>
                  <a:lnTo>
                    <a:pt x="124" y="138"/>
                  </a:lnTo>
                  <a:lnTo>
                    <a:pt x="120" y="145"/>
                  </a:lnTo>
                  <a:lnTo>
                    <a:pt x="117" y="154"/>
                  </a:lnTo>
                  <a:lnTo>
                    <a:pt x="115" y="163"/>
                  </a:lnTo>
                  <a:lnTo>
                    <a:pt x="115" y="171"/>
                  </a:lnTo>
                  <a:lnTo>
                    <a:pt x="117" y="181"/>
                  </a:lnTo>
                  <a:lnTo>
                    <a:pt x="119" y="188"/>
                  </a:lnTo>
                  <a:lnTo>
                    <a:pt x="124" y="197"/>
                  </a:lnTo>
                  <a:lnTo>
                    <a:pt x="126" y="200"/>
                  </a:lnTo>
                  <a:lnTo>
                    <a:pt x="127" y="203"/>
                  </a:lnTo>
                  <a:lnTo>
                    <a:pt x="126" y="208"/>
                  </a:lnTo>
                  <a:lnTo>
                    <a:pt x="124" y="211"/>
                  </a:lnTo>
                  <a:lnTo>
                    <a:pt x="121" y="213"/>
                  </a:lnTo>
                  <a:lnTo>
                    <a:pt x="118" y="215"/>
                  </a:lnTo>
                  <a:lnTo>
                    <a:pt x="115" y="216"/>
                  </a:lnTo>
                  <a:lnTo>
                    <a:pt x="111" y="216"/>
                  </a:lnTo>
                  <a:lnTo>
                    <a:pt x="102" y="215"/>
                  </a:lnTo>
                  <a:lnTo>
                    <a:pt x="93" y="215"/>
                  </a:lnTo>
                  <a:lnTo>
                    <a:pt x="85" y="217"/>
                  </a:lnTo>
                  <a:lnTo>
                    <a:pt x="76" y="222"/>
                  </a:lnTo>
                  <a:lnTo>
                    <a:pt x="69" y="226"/>
                  </a:lnTo>
                  <a:lnTo>
                    <a:pt x="62" y="232"/>
                  </a:lnTo>
                  <a:lnTo>
                    <a:pt x="57" y="239"/>
                  </a:lnTo>
                  <a:lnTo>
                    <a:pt x="53" y="246"/>
                  </a:lnTo>
                  <a:lnTo>
                    <a:pt x="50" y="255"/>
                  </a:lnTo>
                  <a:lnTo>
                    <a:pt x="49" y="265"/>
                  </a:lnTo>
                  <a:lnTo>
                    <a:pt x="49" y="273"/>
                  </a:lnTo>
                  <a:lnTo>
                    <a:pt x="51" y="282"/>
                  </a:lnTo>
                  <a:lnTo>
                    <a:pt x="55" y="290"/>
                  </a:lnTo>
                  <a:lnTo>
                    <a:pt x="59" y="298"/>
                  </a:lnTo>
                  <a:lnTo>
                    <a:pt x="65" y="304"/>
                  </a:lnTo>
                  <a:lnTo>
                    <a:pt x="72" y="310"/>
                  </a:lnTo>
                  <a:lnTo>
                    <a:pt x="75" y="313"/>
                  </a:lnTo>
                  <a:lnTo>
                    <a:pt x="77" y="315"/>
                  </a:lnTo>
                  <a:lnTo>
                    <a:pt x="78" y="319"/>
                  </a:lnTo>
                  <a:lnTo>
                    <a:pt x="77" y="323"/>
                  </a:lnTo>
                  <a:lnTo>
                    <a:pt x="76" y="327"/>
                  </a:lnTo>
                  <a:lnTo>
                    <a:pt x="74" y="329"/>
                  </a:lnTo>
                  <a:lnTo>
                    <a:pt x="71" y="331"/>
                  </a:lnTo>
                  <a:lnTo>
                    <a:pt x="68" y="333"/>
                  </a:lnTo>
                  <a:lnTo>
                    <a:pt x="59" y="336"/>
                  </a:lnTo>
                  <a:lnTo>
                    <a:pt x="50" y="339"/>
                  </a:lnTo>
                  <a:lnTo>
                    <a:pt x="44" y="344"/>
                  </a:lnTo>
                  <a:lnTo>
                    <a:pt x="38" y="351"/>
                  </a:lnTo>
                  <a:lnTo>
                    <a:pt x="32" y="357"/>
                  </a:lnTo>
                  <a:lnTo>
                    <a:pt x="29" y="366"/>
                  </a:lnTo>
                  <a:lnTo>
                    <a:pt x="27" y="374"/>
                  </a:lnTo>
                  <a:lnTo>
                    <a:pt x="26" y="383"/>
                  </a:lnTo>
                  <a:lnTo>
                    <a:pt x="27" y="392"/>
                  </a:lnTo>
                  <a:lnTo>
                    <a:pt x="29" y="401"/>
                  </a:lnTo>
                  <a:lnTo>
                    <a:pt x="32" y="409"/>
                  </a:lnTo>
                  <a:lnTo>
                    <a:pt x="38" y="416"/>
                  </a:lnTo>
                  <a:lnTo>
                    <a:pt x="44" y="422"/>
                  </a:lnTo>
                  <a:lnTo>
                    <a:pt x="50" y="427"/>
                  </a:lnTo>
                  <a:lnTo>
                    <a:pt x="59" y="431"/>
                  </a:lnTo>
                  <a:lnTo>
                    <a:pt x="68" y="433"/>
                  </a:lnTo>
                  <a:lnTo>
                    <a:pt x="71" y="435"/>
                  </a:lnTo>
                  <a:lnTo>
                    <a:pt x="74" y="438"/>
                  </a:lnTo>
                  <a:lnTo>
                    <a:pt x="76" y="441"/>
                  </a:lnTo>
                  <a:lnTo>
                    <a:pt x="77" y="444"/>
                  </a:lnTo>
                  <a:lnTo>
                    <a:pt x="78" y="447"/>
                  </a:lnTo>
                  <a:lnTo>
                    <a:pt x="77" y="451"/>
                  </a:lnTo>
                  <a:lnTo>
                    <a:pt x="75" y="455"/>
                  </a:lnTo>
                  <a:lnTo>
                    <a:pt x="72" y="457"/>
                  </a:lnTo>
                  <a:lnTo>
                    <a:pt x="65" y="462"/>
                  </a:lnTo>
                  <a:lnTo>
                    <a:pt x="59" y="470"/>
                  </a:lnTo>
                  <a:lnTo>
                    <a:pt x="55" y="477"/>
                  </a:lnTo>
                  <a:lnTo>
                    <a:pt x="51" y="485"/>
                  </a:lnTo>
                  <a:lnTo>
                    <a:pt x="49" y="493"/>
                  </a:lnTo>
                  <a:lnTo>
                    <a:pt x="49" y="503"/>
                  </a:lnTo>
                  <a:lnTo>
                    <a:pt x="50" y="512"/>
                  </a:lnTo>
                  <a:lnTo>
                    <a:pt x="53" y="520"/>
                  </a:lnTo>
                  <a:lnTo>
                    <a:pt x="56" y="527"/>
                  </a:lnTo>
                  <a:lnTo>
                    <a:pt x="61" y="533"/>
                  </a:lnTo>
                  <a:lnTo>
                    <a:pt x="65" y="538"/>
                  </a:lnTo>
                  <a:lnTo>
                    <a:pt x="72" y="543"/>
                  </a:lnTo>
                  <a:lnTo>
                    <a:pt x="78" y="546"/>
                  </a:lnTo>
                  <a:lnTo>
                    <a:pt x="85" y="549"/>
                  </a:lnTo>
                  <a:lnTo>
                    <a:pt x="92" y="550"/>
                  </a:lnTo>
                  <a:lnTo>
                    <a:pt x="100" y="551"/>
                  </a:lnTo>
                  <a:lnTo>
                    <a:pt x="105" y="551"/>
                  </a:lnTo>
                  <a:lnTo>
                    <a:pt x="111" y="551"/>
                  </a:lnTo>
                  <a:lnTo>
                    <a:pt x="115" y="550"/>
                  </a:lnTo>
                  <a:lnTo>
                    <a:pt x="118" y="551"/>
                  </a:lnTo>
                  <a:lnTo>
                    <a:pt x="121" y="552"/>
                  </a:lnTo>
                  <a:lnTo>
                    <a:pt x="124" y="556"/>
                  </a:lnTo>
                  <a:lnTo>
                    <a:pt x="126" y="559"/>
                  </a:lnTo>
                  <a:lnTo>
                    <a:pt x="127" y="563"/>
                  </a:lnTo>
                  <a:lnTo>
                    <a:pt x="126" y="566"/>
                  </a:lnTo>
                  <a:lnTo>
                    <a:pt x="124" y="570"/>
                  </a:lnTo>
                  <a:lnTo>
                    <a:pt x="119" y="578"/>
                  </a:lnTo>
                  <a:lnTo>
                    <a:pt x="117" y="587"/>
                  </a:lnTo>
                  <a:lnTo>
                    <a:pt x="115" y="595"/>
                  </a:lnTo>
                  <a:lnTo>
                    <a:pt x="115" y="604"/>
                  </a:lnTo>
                  <a:lnTo>
                    <a:pt x="117" y="613"/>
                  </a:lnTo>
                  <a:lnTo>
                    <a:pt x="120" y="621"/>
                  </a:lnTo>
                  <a:lnTo>
                    <a:pt x="124" y="629"/>
                  </a:lnTo>
                  <a:lnTo>
                    <a:pt x="130" y="635"/>
                  </a:lnTo>
                  <a:lnTo>
                    <a:pt x="137" y="640"/>
                  </a:lnTo>
                  <a:lnTo>
                    <a:pt x="145" y="646"/>
                  </a:lnTo>
                  <a:lnTo>
                    <a:pt x="153" y="648"/>
                  </a:lnTo>
                  <a:lnTo>
                    <a:pt x="162" y="650"/>
                  </a:lnTo>
                  <a:lnTo>
                    <a:pt x="171" y="650"/>
                  </a:lnTo>
                  <a:lnTo>
                    <a:pt x="179" y="649"/>
                  </a:lnTo>
                  <a:lnTo>
                    <a:pt x="188" y="646"/>
                  </a:lnTo>
                  <a:lnTo>
                    <a:pt x="195" y="642"/>
                  </a:lnTo>
                  <a:lnTo>
                    <a:pt x="199" y="639"/>
                  </a:lnTo>
                  <a:lnTo>
                    <a:pt x="203" y="639"/>
                  </a:lnTo>
                  <a:lnTo>
                    <a:pt x="206" y="639"/>
                  </a:lnTo>
                  <a:lnTo>
                    <a:pt x="209" y="642"/>
                  </a:lnTo>
                  <a:lnTo>
                    <a:pt x="213" y="644"/>
                  </a:lnTo>
                  <a:lnTo>
                    <a:pt x="215" y="647"/>
                  </a:lnTo>
                  <a:lnTo>
                    <a:pt x="216" y="650"/>
                  </a:lnTo>
                  <a:lnTo>
                    <a:pt x="215" y="654"/>
                  </a:lnTo>
                  <a:lnTo>
                    <a:pt x="214" y="663"/>
                  </a:lnTo>
                  <a:lnTo>
                    <a:pt x="215" y="672"/>
                  </a:lnTo>
                  <a:lnTo>
                    <a:pt x="217" y="681"/>
                  </a:lnTo>
                  <a:lnTo>
                    <a:pt x="220" y="689"/>
                  </a:lnTo>
                  <a:lnTo>
                    <a:pt x="224" y="696"/>
                  </a:lnTo>
                  <a:lnTo>
                    <a:pt x="231" y="703"/>
                  </a:lnTo>
                  <a:lnTo>
                    <a:pt x="237" y="708"/>
                  </a:lnTo>
                  <a:lnTo>
                    <a:pt x="246" y="712"/>
                  </a:lnTo>
                  <a:lnTo>
                    <a:pt x="254" y="716"/>
                  </a:lnTo>
                  <a:lnTo>
                    <a:pt x="263" y="717"/>
                  </a:lnTo>
                  <a:lnTo>
                    <a:pt x="272" y="716"/>
                  </a:lnTo>
                  <a:lnTo>
                    <a:pt x="280" y="713"/>
                  </a:lnTo>
                  <a:lnTo>
                    <a:pt x="289" y="711"/>
                  </a:lnTo>
                  <a:lnTo>
                    <a:pt x="296" y="706"/>
                  </a:lnTo>
                  <a:lnTo>
                    <a:pt x="303" y="701"/>
                  </a:lnTo>
                  <a:lnTo>
                    <a:pt x="308" y="693"/>
                  </a:lnTo>
                  <a:lnTo>
                    <a:pt x="310" y="691"/>
                  </a:lnTo>
                  <a:lnTo>
                    <a:pt x="313" y="689"/>
                  </a:lnTo>
                  <a:lnTo>
                    <a:pt x="316" y="688"/>
                  </a:lnTo>
                  <a:lnTo>
                    <a:pt x="319" y="687"/>
                  </a:lnTo>
                  <a:close/>
                  <a:moveTo>
                    <a:pt x="382" y="765"/>
                  </a:moveTo>
                  <a:lnTo>
                    <a:pt x="371" y="764"/>
                  </a:lnTo>
                  <a:lnTo>
                    <a:pt x="361" y="762"/>
                  </a:lnTo>
                  <a:lnTo>
                    <a:pt x="351" y="759"/>
                  </a:lnTo>
                  <a:lnTo>
                    <a:pt x="342" y="754"/>
                  </a:lnTo>
                  <a:lnTo>
                    <a:pt x="334" y="748"/>
                  </a:lnTo>
                  <a:lnTo>
                    <a:pt x="326" y="741"/>
                  </a:lnTo>
                  <a:lnTo>
                    <a:pt x="320" y="733"/>
                  </a:lnTo>
                  <a:lnTo>
                    <a:pt x="315" y="724"/>
                  </a:lnTo>
                  <a:lnTo>
                    <a:pt x="306" y="730"/>
                  </a:lnTo>
                  <a:lnTo>
                    <a:pt x="297" y="735"/>
                  </a:lnTo>
                  <a:lnTo>
                    <a:pt x="288" y="738"/>
                  </a:lnTo>
                  <a:lnTo>
                    <a:pt x="277" y="741"/>
                  </a:lnTo>
                  <a:lnTo>
                    <a:pt x="266" y="741"/>
                  </a:lnTo>
                  <a:lnTo>
                    <a:pt x="257" y="741"/>
                  </a:lnTo>
                  <a:lnTo>
                    <a:pt x="246" y="740"/>
                  </a:lnTo>
                  <a:lnTo>
                    <a:pt x="236" y="737"/>
                  </a:lnTo>
                  <a:lnTo>
                    <a:pt x="226" y="732"/>
                  </a:lnTo>
                  <a:lnTo>
                    <a:pt x="218" y="725"/>
                  </a:lnTo>
                  <a:lnTo>
                    <a:pt x="210" y="719"/>
                  </a:lnTo>
                  <a:lnTo>
                    <a:pt x="203" y="710"/>
                  </a:lnTo>
                  <a:lnTo>
                    <a:pt x="197" y="702"/>
                  </a:lnTo>
                  <a:lnTo>
                    <a:pt x="193" y="693"/>
                  </a:lnTo>
                  <a:lnTo>
                    <a:pt x="191" y="683"/>
                  </a:lnTo>
                  <a:lnTo>
                    <a:pt x="189" y="673"/>
                  </a:lnTo>
                  <a:lnTo>
                    <a:pt x="178" y="675"/>
                  </a:lnTo>
                  <a:lnTo>
                    <a:pt x="166" y="676"/>
                  </a:lnTo>
                  <a:lnTo>
                    <a:pt x="159" y="675"/>
                  </a:lnTo>
                  <a:lnTo>
                    <a:pt x="151" y="674"/>
                  </a:lnTo>
                  <a:lnTo>
                    <a:pt x="144" y="673"/>
                  </a:lnTo>
                  <a:lnTo>
                    <a:pt x="137" y="671"/>
                  </a:lnTo>
                  <a:lnTo>
                    <a:pt x="130" y="667"/>
                  </a:lnTo>
                  <a:lnTo>
                    <a:pt x="123" y="663"/>
                  </a:lnTo>
                  <a:lnTo>
                    <a:pt x="118" y="659"/>
                  </a:lnTo>
                  <a:lnTo>
                    <a:pt x="112" y="654"/>
                  </a:lnTo>
                  <a:lnTo>
                    <a:pt x="105" y="646"/>
                  </a:lnTo>
                  <a:lnTo>
                    <a:pt x="99" y="636"/>
                  </a:lnTo>
                  <a:lnTo>
                    <a:pt x="94" y="626"/>
                  </a:lnTo>
                  <a:lnTo>
                    <a:pt x="91" y="617"/>
                  </a:lnTo>
                  <a:lnTo>
                    <a:pt x="90" y="607"/>
                  </a:lnTo>
                  <a:lnTo>
                    <a:pt x="89" y="596"/>
                  </a:lnTo>
                  <a:lnTo>
                    <a:pt x="90" y="587"/>
                  </a:lnTo>
                  <a:lnTo>
                    <a:pt x="93" y="576"/>
                  </a:lnTo>
                  <a:lnTo>
                    <a:pt x="83" y="575"/>
                  </a:lnTo>
                  <a:lnTo>
                    <a:pt x="73" y="572"/>
                  </a:lnTo>
                  <a:lnTo>
                    <a:pt x="63" y="567"/>
                  </a:lnTo>
                  <a:lnTo>
                    <a:pt x="55" y="562"/>
                  </a:lnTo>
                  <a:lnTo>
                    <a:pt x="47" y="556"/>
                  </a:lnTo>
                  <a:lnTo>
                    <a:pt x="40" y="547"/>
                  </a:lnTo>
                  <a:lnTo>
                    <a:pt x="34" y="538"/>
                  </a:lnTo>
                  <a:lnTo>
                    <a:pt x="29" y="529"/>
                  </a:lnTo>
                  <a:lnTo>
                    <a:pt x="26" y="519"/>
                  </a:lnTo>
                  <a:lnTo>
                    <a:pt x="24" y="508"/>
                  </a:lnTo>
                  <a:lnTo>
                    <a:pt x="24" y="499"/>
                  </a:lnTo>
                  <a:lnTo>
                    <a:pt x="25" y="488"/>
                  </a:lnTo>
                  <a:lnTo>
                    <a:pt x="27" y="478"/>
                  </a:lnTo>
                  <a:lnTo>
                    <a:pt x="30" y="469"/>
                  </a:lnTo>
                  <a:lnTo>
                    <a:pt x="35" y="460"/>
                  </a:lnTo>
                  <a:lnTo>
                    <a:pt x="41" y="451"/>
                  </a:lnTo>
                  <a:lnTo>
                    <a:pt x="32" y="446"/>
                  </a:lnTo>
                  <a:lnTo>
                    <a:pt x="25" y="439"/>
                  </a:lnTo>
                  <a:lnTo>
                    <a:pt x="17" y="431"/>
                  </a:lnTo>
                  <a:lnTo>
                    <a:pt x="12" y="422"/>
                  </a:lnTo>
                  <a:lnTo>
                    <a:pt x="6" y="414"/>
                  </a:lnTo>
                  <a:lnTo>
                    <a:pt x="3" y="404"/>
                  </a:lnTo>
                  <a:lnTo>
                    <a:pt x="1" y="393"/>
                  </a:lnTo>
                  <a:lnTo>
                    <a:pt x="0" y="383"/>
                  </a:lnTo>
                  <a:lnTo>
                    <a:pt x="1" y="372"/>
                  </a:lnTo>
                  <a:lnTo>
                    <a:pt x="3" y="362"/>
                  </a:lnTo>
                  <a:lnTo>
                    <a:pt x="6" y="353"/>
                  </a:lnTo>
                  <a:lnTo>
                    <a:pt x="12" y="343"/>
                  </a:lnTo>
                  <a:lnTo>
                    <a:pt x="17" y="334"/>
                  </a:lnTo>
                  <a:lnTo>
                    <a:pt x="25" y="327"/>
                  </a:lnTo>
                  <a:lnTo>
                    <a:pt x="32" y="320"/>
                  </a:lnTo>
                  <a:lnTo>
                    <a:pt x="41" y="315"/>
                  </a:lnTo>
                  <a:lnTo>
                    <a:pt x="35" y="307"/>
                  </a:lnTo>
                  <a:lnTo>
                    <a:pt x="30" y="298"/>
                  </a:lnTo>
                  <a:lnTo>
                    <a:pt x="27" y="288"/>
                  </a:lnTo>
                  <a:lnTo>
                    <a:pt x="25" y="279"/>
                  </a:lnTo>
                  <a:lnTo>
                    <a:pt x="24" y="268"/>
                  </a:lnTo>
                  <a:lnTo>
                    <a:pt x="24" y="258"/>
                  </a:lnTo>
                  <a:lnTo>
                    <a:pt x="26" y="247"/>
                  </a:lnTo>
                  <a:lnTo>
                    <a:pt x="29" y="238"/>
                  </a:lnTo>
                  <a:lnTo>
                    <a:pt x="34" y="228"/>
                  </a:lnTo>
                  <a:lnTo>
                    <a:pt x="40" y="220"/>
                  </a:lnTo>
                  <a:lnTo>
                    <a:pt x="47" y="212"/>
                  </a:lnTo>
                  <a:lnTo>
                    <a:pt x="55" y="205"/>
                  </a:lnTo>
                  <a:lnTo>
                    <a:pt x="63" y="199"/>
                  </a:lnTo>
                  <a:lnTo>
                    <a:pt x="73" y="195"/>
                  </a:lnTo>
                  <a:lnTo>
                    <a:pt x="83" y="192"/>
                  </a:lnTo>
                  <a:lnTo>
                    <a:pt x="93" y="191"/>
                  </a:lnTo>
                  <a:lnTo>
                    <a:pt x="90" y="180"/>
                  </a:lnTo>
                  <a:lnTo>
                    <a:pt x="89" y="170"/>
                  </a:lnTo>
                  <a:lnTo>
                    <a:pt x="90" y="159"/>
                  </a:lnTo>
                  <a:lnTo>
                    <a:pt x="91" y="150"/>
                  </a:lnTo>
                  <a:lnTo>
                    <a:pt x="94" y="139"/>
                  </a:lnTo>
                  <a:lnTo>
                    <a:pt x="99" y="129"/>
                  </a:lnTo>
                  <a:lnTo>
                    <a:pt x="105" y="121"/>
                  </a:lnTo>
                  <a:lnTo>
                    <a:pt x="112" y="113"/>
                  </a:lnTo>
                  <a:lnTo>
                    <a:pt x="118" y="108"/>
                  </a:lnTo>
                  <a:lnTo>
                    <a:pt x="123" y="104"/>
                  </a:lnTo>
                  <a:lnTo>
                    <a:pt x="130" y="99"/>
                  </a:lnTo>
                  <a:lnTo>
                    <a:pt x="137" y="97"/>
                  </a:lnTo>
                  <a:lnTo>
                    <a:pt x="144" y="94"/>
                  </a:lnTo>
                  <a:lnTo>
                    <a:pt x="151" y="93"/>
                  </a:lnTo>
                  <a:lnTo>
                    <a:pt x="159" y="92"/>
                  </a:lnTo>
                  <a:lnTo>
                    <a:pt x="166" y="91"/>
                  </a:lnTo>
                  <a:lnTo>
                    <a:pt x="178" y="92"/>
                  </a:lnTo>
                  <a:lnTo>
                    <a:pt x="189" y="94"/>
                  </a:lnTo>
                  <a:lnTo>
                    <a:pt x="191" y="83"/>
                  </a:lnTo>
                  <a:lnTo>
                    <a:pt x="193" y="74"/>
                  </a:lnTo>
                  <a:lnTo>
                    <a:pt x="197" y="64"/>
                  </a:lnTo>
                  <a:lnTo>
                    <a:pt x="203" y="55"/>
                  </a:lnTo>
                  <a:lnTo>
                    <a:pt x="210" y="48"/>
                  </a:lnTo>
                  <a:lnTo>
                    <a:pt x="218" y="41"/>
                  </a:lnTo>
                  <a:lnTo>
                    <a:pt x="226" y="35"/>
                  </a:lnTo>
                  <a:lnTo>
                    <a:pt x="236" y="31"/>
                  </a:lnTo>
                  <a:lnTo>
                    <a:pt x="246" y="27"/>
                  </a:lnTo>
                  <a:lnTo>
                    <a:pt x="257" y="25"/>
                  </a:lnTo>
                  <a:lnTo>
                    <a:pt x="266" y="25"/>
                  </a:lnTo>
                  <a:lnTo>
                    <a:pt x="277" y="26"/>
                  </a:lnTo>
                  <a:lnTo>
                    <a:pt x="288" y="28"/>
                  </a:lnTo>
                  <a:lnTo>
                    <a:pt x="297" y="32"/>
                  </a:lnTo>
                  <a:lnTo>
                    <a:pt x="306" y="36"/>
                  </a:lnTo>
                  <a:lnTo>
                    <a:pt x="315" y="41"/>
                  </a:lnTo>
                  <a:lnTo>
                    <a:pt x="320" y="33"/>
                  </a:lnTo>
                  <a:lnTo>
                    <a:pt x="326" y="25"/>
                  </a:lnTo>
                  <a:lnTo>
                    <a:pt x="334" y="18"/>
                  </a:lnTo>
                  <a:lnTo>
                    <a:pt x="342" y="12"/>
                  </a:lnTo>
                  <a:lnTo>
                    <a:pt x="351" y="7"/>
                  </a:lnTo>
                  <a:lnTo>
                    <a:pt x="361" y="4"/>
                  </a:lnTo>
                  <a:lnTo>
                    <a:pt x="371" y="2"/>
                  </a:lnTo>
                  <a:lnTo>
                    <a:pt x="382" y="0"/>
                  </a:lnTo>
                  <a:lnTo>
                    <a:pt x="393" y="2"/>
                  </a:lnTo>
                  <a:lnTo>
                    <a:pt x="404" y="4"/>
                  </a:lnTo>
                  <a:lnTo>
                    <a:pt x="413" y="7"/>
                  </a:lnTo>
                  <a:lnTo>
                    <a:pt x="422" y="12"/>
                  </a:lnTo>
                  <a:lnTo>
                    <a:pt x="430" y="18"/>
                  </a:lnTo>
                  <a:lnTo>
                    <a:pt x="438" y="25"/>
                  </a:lnTo>
                  <a:lnTo>
                    <a:pt x="444" y="33"/>
                  </a:lnTo>
                  <a:lnTo>
                    <a:pt x="450" y="41"/>
                  </a:lnTo>
                  <a:lnTo>
                    <a:pt x="458" y="36"/>
                  </a:lnTo>
                  <a:lnTo>
                    <a:pt x="467" y="32"/>
                  </a:lnTo>
                  <a:lnTo>
                    <a:pt x="477" y="28"/>
                  </a:lnTo>
                  <a:lnTo>
                    <a:pt x="487" y="26"/>
                  </a:lnTo>
                  <a:lnTo>
                    <a:pt x="497" y="25"/>
                  </a:lnTo>
                  <a:lnTo>
                    <a:pt x="508" y="25"/>
                  </a:lnTo>
                  <a:lnTo>
                    <a:pt x="519" y="27"/>
                  </a:lnTo>
                  <a:lnTo>
                    <a:pt x="528" y="31"/>
                  </a:lnTo>
                  <a:lnTo>
                    <a:pt x="538" y="35"/>
                  </a:lnTo>
                  <a:lnTo>
                    <a:pt x="546" y="41"/>
                  </a:lnTo>
                  <a:lnTo>
                    <a:pt x="554" y="48"/>
                  </a:lnTo>
                  <a:lnTo>
                    <a:pt x="560" y="56"/>
                  </a:lnTo>
                  <a:lnTo>
                    <a:pt x="567" y="65"/>
                  </a:lnTo>
                  <a:lnTo>
                    <a:pt x="571" y="75"/>
                  </a:lnTo>
                  <a:lnTo>
                    <a:pt x="573" y="84"/>
                  </a:lnTo>
                  <a:lnTo>
                    <a:pt x="575" y="94"/>
                  </a:lnTo>
                  <a:lnTo>
                    <a:pt x="586" y="92"/>
                  </a:lnTo>
                  <a:lnTo>
                    <a:pt x="598" y="91"/>
                  </a:lnTo>
                  <a:lnTo>
                    <a:pt x="605" y="92"/>
                  </a:lnTo>
                  <a:lnTo>
                    <a:pt x="613" y="93"/>
                  </a:lnTo>
                  <a:lnTo>
                    <a:pt x="621" y="94"/>
                  </a:lnTo>
                  <a:lnTo>
                    <a:pt x="627" y="97"/>
                  </a:lnTo>
                  <a:lnTo>
                    <a:pt x="634" y="99"/>
                  </a:lnTo>
                  <a:lnTo>
                    <a:pt x="641" y="104"/>
                  </a:lnTo>
                  <a:lnTo>
                    <a:pt x="646" y="108"/>
                  </a:lnTo>
                  <a:lnTo>
                    <a:pt x="653" y="113"/>
                  </a:lnTo>
                  <a:lnTo>
                    <a:pt x="659" y="121"/>
                  </a:lnTo>
                  <a:lnTo>
                    <a:pt x="665" y="129"/>
                  </a:lnTo>
                  <a:lnTo>
                    <a:pt x="670" y="139"/>
                  </a:lnTo>
                  <a:lnTo>
                    <a:pt x="672" y="150"/>
                  </a:lnTo>
                  <a:lnTo>
                    <a:pt x="674" y="159"/>
                  </a:lnTo>
                  <a:lnTo>
                    <a:pt x="674" y="170"/>
                  </a:lnTo>
                  <a:lnTo>
                    <a:pt x="674" y="180"/>
                  </a:lnTo>
                  <a:lnTo>
                    <a:pt x="671" y="191"/>
                  </a:lnTo>
                  <a:lnTo>
                    <a:pt x="682" y="192"/>
                  </a:lnTo>
                  <a:lnTo>
                    <a:pt x="691" y="195"/>
                  </a:lnTo>
                  <a:lnTo>
                    <a:pt x="701" y="199"/>
                  </a:lnTo>
                  <a:lnTo>
                    <a:pt x="710" y="205"/>
                  </a:lnTo>
                  <a:lnTo>
                    <a:pt x="717" y="212"/>
                  </a:lnTo>
                  <a:lnTo>
                    <a:pt x="725" y="220"/>
                  </a:lnTo>
                  <a:lnTo>
                    <a:pt x="730" y="228"/>
                  </a:lnTo>
                  <a:lnTo>
                    <a:pt x="735" y="238"/>
                  </a:lnTo>
                  <a:lnTo>
                    <a:pt x="739" y="247"/>
                  </a:lnTo>
                  <a:lnTo>
                    <a:pt x="741" y="258"/>
                  </a:lnTo>
                  <a:lnTo>
                    <a:pt x="741" y="268"/>
                  </a:lnTo>
                  <a:lnTo>
                    <a:pt x="740" y="279"/>
                  </a:lnTo>
                  <a:lnTo>
                    <a:pt x="738" y="288"/>
                  </a:lnTo>
                  <a:lnTo>
                    <a:pt x="734" y="298"/>
                  </a:lnTo>
                  <a:lnTo>
                    <a:pt x="729" y="307"/>
                  </a:lnTo>
                  <a:lnTo>
                    <a:pt x="724" y="315"/>
                  </a:lnTo>
                  <a:lnTo>
                    <a:pt x="732" y="320"/>
                  </a:lnTo>
                  <a:lnTo>
                    <a:pt x="740" y="327"/>
                  </a:lnTo>
                  <a:lnTo>
                    <a:pt x="747" y="334"/>
                  </a:lnTo>
                  <a:lnTo>
                    <a:pt x="753" y="343"/>
                  </a:lnTo>
                  <a:lnTo>
                    <a:pt x="758" y="353"/>
                  </a:lnTo>
                  <a:lnTo>
                    <a:pt x="761" y="362"/>
                  </a:lnTo>
                  <a:lnTo>
                    <a:pt x="763" y="372"/>
                  </a:lnTo>
                  <a:lnTo>
                    <a:pt x="764" y="383"/>
                  </a:lnTo>
                  <a:lnTo>
                    <a:pt x="763" y="393"/>
                  </a:lnTo>
                  <a:lnTo>
                    <a:pt x="761" y="404"/>
                  </a:lnTo>
                  <a:lnTo>
                    <a:pt x="758" y="414"/>
                  </a:lnTo>
                  <a:lnTo>
                    <a:pt x="753" y="422"/>
                  </a:lnTo>
                  <a:lnTo>
                    <a:pt x="747" y="431"/>
                  </a:lnTo>
                  <a:lnTo>
                    <a:pt x="740" y="439"/>
                  </a:lnTo>
                  <a:lnTo>
                    <a:pt x="732" y="446"/>
                  </a:lnTo>
                  <a:lnTo>
                    <a:pt x="724" y="451"/>
                  </a:lnTo>
                  <a:lnTo>
                    <a:pt x="729" y="460"/>
                  </a:lnTo>
                  <a:lnTo>
                    <a:pt x="734" y="469"/>
                  </a:lnTo>
                  <a:lnTo>
                    <a:pt x="738" y="478"/>
                  </a:lnTo>
                  <a:lnTo>
                    <a:pt x="740" y="488"/>
                  </a:lnTo>
                  <a:lnTo>
                    <a:pt x="741" y="499"/>
                  </a:lnTo>
                  <a:lnTo>
                    <a:pt x="741" y="508"/>
                  </a:lnTo>
                  <a:lnTo>
                    <a:pt x="739" y="519"/>
                  </a:lnTo>
                  <a:lnTo>
                    <a:pt x="735" y="529"/>
                  </a:lnTo>
                  <a:lnTo>
                    <a:pt x="730" y="538"/>
                  </a:lnTo>
                  <a:lnTo>
                    <a:pt x="725" y="547"/>
                  </a:lnTo>
                  <a:lnTo>
                    <a:pt x="717" y="556"/>
                  </a:lnTo>
                  <a:lnTo>
                    <a:pt x="710" y="562"/>
                  </a:lnTo>
                  <a:lnTo>
                    <a:pt x="701" y="567"/>
                  </a:lnTo>
                  <a:lnTo>
                    <a:pt x="691" y="572"/>
                  </a:lnTo>
                  <a:lnTo>
                    <a:pt x="682" y="575"/>
                  </a:lnTo>
                  <a:lnTo>
                    <a:pt x="671" y="576"/>
                  </a:lnTo>
                  <a:lnTo>
                    <a:pt x="674" y="587"/>
                  </a:lnTo>
                  <a:lnTo>
                    <a:pt x="674" y="596"/>
                  </a:lnTo>
                  <a:lnTo>
                    <a:pt x="674" y="607"/>
                  </a:lnTo>
                  <a:lnTo>
                    <a:pt x="672" y="617"/>
                  </a:lnTo>
                  <a:lnTo>
                    <a:pt x="670" y="626"/>
                  </a:lnTo>
                  <a:lnTo>
                    <a:pt x="665" y="636"/>
                  </a:lnTo>
                  <a:lnTo>
                    <a:pt x="659" y="646"/>
                  </a:lnTo>
                  <a:lnTo>
                    <a:pt x="653" y="654"/>
                  </a:lnTo>
                  <a:lnTo>
                    <a:pt x="646" y="659"/>
                  </a:lnTo>
                  <a:lnTo>
                    <a:pt x="641" y="663"/>
                  </a:lnTo>
                  <a:lnTo>
                    <a:pt x="634" y="667"/>
                  </a:lnTo>
                  <a:lnTo>
                    <a:pt x="627" y="671"/>
                  </a:lnTo>
                  <a:lnTo>
                    <a:pt x="621" y="673"/>
                  </a:lnTo>
                  <a:lnTo>
                    <a:pt x="613" y="674"/>
                  </a:lnTo>
                  <a:lnTo>
                    <a:pt x="605" y="675"/>
                  </a:lnTo>
                  <a:lnTo>
                    <a:pt x="598" y="676"/>
                  </a:lnTo>
                  <a:lnTo>
                    <a:pt x="586" y="675"/>
                  </a:lnTo>
                  <a:lnTo>
                    <a:pt x="575" y="673"/>
                  </a:lnTo>
                  <a:lnTo>
                    <a:pt x="573" y="683"/>
                  </a:lnTo>
                  <a:lnTo>
                    <a:pt x="571" y="693"/>
                  </a:lnTo>
                  <a:lnTo>
                    <a:pt x="567" y="702"/>
                  </a:lnTo>
                  <a:lnTo>
                    <a:pt x="560" y="710"/>
                  </a:lnTo>
                  <a:lnTo>
                    <a:pt x="554" y="719"/>
                  </a:lnTo>
                  <a:lnTo>
                    <a:pt x="546" y="725"/>
                  </a:lnTo>
                  <a:lnTo>
                    <a:pt x="538" y="732"/>
                  </a:lnTo>
                  <a:lnTo>
                    <a:pt x="528" y="737"/>
                  </a:lnTo>
                  <a:lnTo>
                    <a:pt x="519" y="740"/>
                  </a:lnTo>
                  <a:lnTo>
                    <a:pt x="508" y="741"/>
                  </a:lnTo>
                  <a:lnTo>
                    <a:pt x="497" y="741"/>
                  </a:lnTo>
                  <a:lnTo>
                    <a:pt x="487" y="741"/>
                  </a:lnTo>
                  <a:lnTo>
                    <a:pt x="477" y="738"/>
                  </a:lnTo>
                  <a:lnTo>
                    <a:pt x="467" y="735"/>
                  </a:lnTo>
                  <a:lnTo>
                    <a:pt x="458" y="731"/>
                  </a:lnTo>
                  <a:lnTo>
                    <a:pt x="450" y="724"/>
                  </a:lnTo>
                  <a:lnTo>
                    <a:pt x="444" y="733"/>
                  </a:lnTo>
                  <a:lnTo>
                    <a:pt x="438" y="741"/>
                  </a:lnTo>
                  <a:lnTo>
                    <a:pt x="430" y="748"/>
                  </a:lnTo>
                  <a:lnTo>
                    <a:pt x="422" y="754"/>
                  </a:lnTo>
                  <a:lnTo>
                    <a:pt x="413" y="759"/>
                  </a:lnTo>
                  <a:lnTo>
                    <a:pt x="404" y="762"/>
                  </a:lnTo>
                  <a:lnTo>
                    <a:pt x="393" y="764"/>
                  </a:lnTo>
                  <a:lnTo>
                    <a:pt x="382" y="7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Group 108">
            <a:extLst>
              <a:ext uri="{FF2B5EF4-FFF2-40B4-BE49-F238E27FC236}">
                <a16:creationId xmlns:a16="http://schemas.microsoft.com/office/drawing/2014/main" id="{4B62BEEC-4909-44C1-BA5E-DAD50C5EED74}"/>
              </a:ext>
            </a:extLst>
          </p:cNvPr>
          <p:cNvGrpSpPr/>
          <p:nvPr/>
        </p:nvGrpSpPr>
        <p:grpSpPr>
          <a:xfrm>
            <a:off x="10192971" y="2821400"/>
            <a:ext cx="458644" cy="458644"/>
            <a:chOff x="3973513" y="4452938"/>
            <a:chExt cx="303213" cy="303213"/>
          </a:xfrm>
          <a:solidFill>
            <a:schemeClr val="accent4"/>
          </a:solidFill>
        </p:grpSpPr>
        <p:sp>
          <p:nvSpPr>
            <p:cNvPr id="110" name="Freeform 142">
              <a:extLst>
                <a:ext uri="{FF2B5EF4-FFF2-40B4-BE49-F238E27FC236}">
                  <a16:creationId xmlns:a16="http://schemas.microsoft.com/office/drawing/2014/main" id="{1DB328FC-373C-4CE5-A080-FB98B6E6001A}"/>
                </a:ext>
              </a:extLst>
            </p:cNvPr>
            <p:cNvSpPr>
              <a:spLocks/>
            </p:cNvSpPr>
            <p:nvPr/>
          </p:nvSpPr>
          <p:spPr bwMode="auto">
            <a:xfrm>
              <a:off x="4114801" y="4573588"/>
              <a:ext cx="47625" cy="80963"/>
            </a:xfrm>
            <a:custGeom>
              <a:avLst/>
              <a:gdLst>
                <a:gd name="T0" fmla="*/ 25 w 119"/>
                <a:gd name="T1" fmla="*/ 88 h 203"/>
                <a:gd name="T2" fmla="*/ 25 w 119"/>
                <a:gd name="T3" fmla="*/ 13 h 203"/>
                <a:gd name="T4" fmla="*/ 24 w 119"/>
                <a:gd name="T5" fmla="*/ 8 h 203"/>
                <a:gd name="T6" fmla="*/ 21 w 119"/>
                <a:gd name="T7" fmla="*/ 4 h 203"/>
                <a:gd name="T8" fmla="*/ 18 w 119"/>
                <a:gd name="T9" fmla="*/ 1 h 203"/>
                <a:gd name="T10" fmla="*/ 12 w 119"/>
                <a:gd name="T11" fmla="*/ 0 h 203"/>
                <a:gd name="T12" fmla="*/ 7 w 119"/>
                <a:gd name="T13" fmla="*/ 1 h 203"/>
                <a:gd name="T14" fmla="*/ 4 w 119"/>
                <a:gd name="T15" fmla="*/ 4 h 203"/>
                <a:gd name="T16" fmla="*/ 1 w 119"/>
                <a:gd name="T17" fmla="*/ 8 h 203"/>
                <a:gd name="T18" fmla="*/ 0 w 119"/>
                <a:gd name="T19" fmla="*/ 13 h 203"/>
                <a:gd name="T20" fmla="*/ 0 w 119"/>
                <a:gd name="T21" fmla="*/ 94 h 203"/>
                <a:gd name="T22" fmla="*/ 1 w 119"/>
                <a:gd name="T23" fmla="*/ 98 h 203"/>
                <a:gd name="T24" fmla="*/ 4 w 119"/>
                <a:gd name="T25" fmla="*/ 102 h 203"/>
                <a:gd name="T26" fmla="*/ 96 w 119"/>
                <a:gd name="T27" fmla="*/ 199 h 203"/>
                <a:gd name="T28" fmla="*/ 101 w 119"/>
                <a:gd name="T29" fmla="*/ 202 h 203"/>
                <a:gd name="T30" fmla="*/ 106 w 119"/>
                <a:gd name="T31" fmla="*/ 203 h 203"/>
                <a:gd name="T32" fmla="*/ 110 w 119"/>
                <a:gd name="T33" fmla="*/ 202 h 203"/>
                <a:gd name="T34" fmla="*/ 114 w 119"/>
                <a:gd name="T35" fmla="*/ 199 h 203"/>
                <a:gd name="T36" fmla="*/ 118 w 119"/>
                <a:gd name="T37" fmla="*/ 195 h 203"/>
                <a:gd name="T38" fmla="*/ 119 w 119"/>
                <a:gd name="T39" fmla="*/ 190 h 203"/>
                <a:gd name="T40" fmla="*/ 118 w 119"/>
                <a:gd name="T41" fmla="*/ 186 h 203"/>
                <a:gd name="T42" fmla="*/ 114 w 119"/>
                <a:gd name="T43" fmla="*/ 182 h 203"/>
                <a:gd name="T44" fmla="*/ 25 w 119"/>
                <a:gd name="T45" fmla="*/ 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25" y="88"/>
                  </a:moveTo>
                  <a:lnTo>
                    <a:pt x="25" y="13"/>
                  </a:lnTo>
                  <a:lnTo>
                    <a:pt x="24" y="8"/>
                  </a:lnTo>
                  <a:lnTo>
                    <a:pt x="21" y="4"/>
                  </a:lnTo>
                  <a:lnTo>
                    <a:pt x="18" y="1"/>
                  </a:lnTo>
                  <a:lnTo>
                    <a:pt x="12" y="0"/>
                  </a:lnTo>
                  <a:lnTo>
                    <a:pt x="7" y="1"/>
                  </a:lnTo>
                  <a:lnTo>
                    <a:pt x="4" y="4"/>
                  </a:lnTo>
                  <a:lnTo>
                    <a:pt x="1" y="8"/>
                  </a:lnTo>
                  <a:lnTo>
                    <a:pt x="0" y="13"/>
                  </a:lnTo>
                  <a:lnTo>
                    <a:pt x="0" y="94"/>
                  </a:lnTo>
                  <a:lnTo>
                    <a:pt x="1" y="98"/>
                  </a:lnTo>
                  <a:lnTo>
                    <a:pt x="4" y="102"/>
                  </a:lnTo>
                  <a:lnTo>
                    <a:pt x="96" y="199"/>
                  </a:lnTo>
                  <a:lnTo>
                    <a:pt x="101" y="202"/>
                  </a:lnTo>
                  <a:lnTo>
                    <a:pt x="106" y="203"/>
                  </a:lnTo>
                  <a:lnTo>
                    <a:pt x="110" y="202"/>
                  </a:lnTo>
                  <a:lnTo>
                    <a:pt x="114" y="199"/>
                  </a:lnTo>
                  <a:lnTo>
                    <a:pt x="118" y="195"/>
                  </a:lnTo>
                  <a:lnTo>
                    <a:pt x="119" y="190"/>
                  </a:lnTo>
                  <a:lnTo>
                    <a:pt x="118" y="186"/>
                  </a:lnTo>
                  <a:lnTo>
                    <a:pt x="114" y="182"/>
                  </a:lnTo>
                  <a:lnTo>
                    <a:pt x="25"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43">
              <a:extLst>
                <a:ext uri="{FF2B5EF4-FFF2-40B4-BE49-F238E27FC236}">
                  <a16:creationId xmlns:a16="http://schemas.microsoft.com/office/drawing/2014/main" id="{582CE226-D74C-4505-8AF6-F72EFAB7EAB6}"/>
                </a:ext>
              </a:extLst>
            </p:cNvPr>
            <p:cNvSpPr>
              <a:spLocks noEditPoints="1"/>
            </p:cNvSpPr>
            <p:nvPr/>
          </p:nvSpPr>
          <p:spPr bwMode="auto">
            <a:xfrm>
              <a:off x="3973513" y="4452938"/>
              <a:ext cx="303213" cy="303213"/>
            </a:xfrm>
            <a:custGeom>
              <a:avLst/>
              <a:gdLst>
                <a:gd name="T0" fmla="*/ 733 w 765"/>
                <a:gd name="T1" fmla="*/ 141 h 764"/>
                <a:gd name="T2" fmla="*/ 566 w 765"/>
                <a:gd name="T3" fmla="*/ 254 h 764"/>
                <a:gd name="T4" fmla="*/ 510 w 765"/>
                <a:gd name="T5" fmla="*/ 199 h 764"/>
                <a:gd name="T6" fmla="*/ 670 w 765"/>
                <a:gd name="T7" fmla="*/ 203 h 764"/>
                <a:gd name="T8" fmla="*/ 347 w 765"/>
                <a:gd name="T9" fmla="*/ 610 h 764"/>
                <a:gd name="T10" fmla="*/ 286 w 765"/>
                <a:gd name="T11" fmla="*/ 594 h 764"/>
                <a:gd name="T12" fmla="*/ 217 w 765"/>
                <a:gd name="T13" fmla="*/ 548 h 764"/>
                <a:gd name="T14" fmla="*/ 170 w 765"/>
                <a:gd name="T15" fmla="*/ 479 h 764"/>
                <a:gd name="T16" fmla="*/ 154 w 765"/>
                <a:gd name="T17" fmla="*/ 417 h 764"/>
                <a:gd name="T18" fmla="*/ 154 w 765"/>
                <a:gd name="T19" fmla="*/ 373 h 764"/>
                <a:gd name="T20" fmla="*/ 170 w 765"/>
                <a:gd name="T21" fmla="*/ 311 h 764"/>
                <a:gd name="T22" fmla="*/ 217 w 765"/>
                <a:gd name="T23" fmla="*/ 242 h 764"/>
                <a:gd name="T24" fmla="*/ 286 w 765"/>
                <a:gd name="T25" fmla="*/ 196 h 764"/>
                <a:gd name="T26" fmla="*/ 347 w 765"/>
                <a:gd name="T27" fmla="*/ 180 h 764"/>
                <a:gd name="T28" fmla="*/ 392 w 765"/>
                <a:gd name="T29" fmla="*/ 180 h 764"/>
                <a:gd name="T30" fmla="*/ 453 w 765"/>
                <a:gd name="T31" fmla="*/ 196 h 764"/>
                <a:gd name="T32" fmla="*/ 523 w 765"/>
                <a:gd name="T33" fmla="*/ 242 h 764"/>
                <a:gd name="T34" fmla="*/ 569 w 765"/>
                <a:gd name="T35" fmla="*/ 311 h 764"/>
                <a:gd name="T36" fmla="*/ 585 w 765"/>
                <a:gd name="T37" fmla="*/ 373 h 764"/>
                <a:gd name="T38" fmla="*/ 585 w 765"/>
                <a:gd name="T39" fmla="*/ 417 h 764"/>
                <a:gd name="T40" fmla="*/ 569 w 765"/>
                <a:gd name="T41" fmla="*/ 479 h 764"/>
                <a:gd name="T42" fmla="*/ 523 w 765"/>
                <a:gd name="T43" fmla="*/ 548 h 764"/>
                <a:gd name="T44" fmla="*/ 453 w 765"/>
                <a:gd name="T45" fmla="*/ 594 h 764"/>
                <a:gd name="T46" fmla="*/ 392 w 765"/>
                <a:gd name="T47" fmla="*/ 610 h 764"/>
                <a:gd name="T48" fmla="*/ 26 w 765"/>
                <a:gd name="T49" fmla="*/ 738 h 764"/>
                <a:gd name="T50" fmla="*/ 173 w 765"/>
                <a:gd name="T51" fmla="*/ 536 h 764"/>
                <a:gd name="T52" fmla="*/ 229 w 765"/>
                <a:gd name="T53" fmla="*/ 591 h 764"/>
                <a:gd name="T54" fmla="*/ 624 w 765"/>
                <a:gd name="T55" fmla="*/ 31 h 764"/>
                <a:gd name="T56" fmla="*/ 624 w 765"/>
                <a:gd name="T57" fmla="*/ 31 h 764"/>
                <a:gd name="T58" fmla="*/ 634 w 765"/>
                <a:gd name="T59" fmla="*/ 3 h 764"/>
                <a:gd name="T60" fmla="*/ 624 w 765"/>
                <a:gd name="T61" fmla="*/ 0 h 764"/>
                <a:gd name="T62" fmla="*/ 451 w 765"/>
                <a:gd name="T63" fmla="*/ 168 h 764"/>
                <a:gd name="T64" fmla="*/ 369 w 765"/>
                <a:gd name="T65" fmla="*/ 153 h 764"/>
                <a:gd name="T66" fmla="*/ 321 w 765"/>
                <a:gd name="T67" fmla="*/ 158 h 764"/>
                <a:gd name="T68" fmla="*/ 275 w 765"/>
                <a:gd name="T69" fmla="*/ 172 h 764"/>
                <a:gd name="T70" fmla="*/ 234 w 765"/>
                <a:gd name="T71" fmla="*/ 195 h 764"/>
                <a:gd name="T72" fmla="*/ 199 w 765"/>
                <a:gd name="T73" fmla="*/ 224 h 764"/>
                <a:gd name="T74" fmla="*/ 169 w 765"/>
                <a:gd name="T75" fmla="*/ 260 h 764"/>
                <a:gd name="T76" fmla="*/ 146 w 765"/>
                <a:gd name="T77" fmla="*/ 301 h 764"/>
                <a:gd name="T78" fmla="*/ 132 w 765"/>
                <a:gd name="T79" fmla="*/ 346 h 764"/>
                <a:gd name="T80" fmla="*/ 128 w 765"/>
                <a:gd name="T81" fmla="*/ 394 h 764"/>
                <a:gd name="T82" fmla="*/ 142 w 765"/>
                <a:gd name="T83" fmla="*/ 477 h 764"/>
                <a:gd name="T84" fmla="*/ 0 w 765"/>
                <a:gd name="T85" fmla="*/ 751 h 764"/>
                <a:gd name="T86" fmla="*/ 13 w 765"/>
                <a:gd name="T87" fmla="*/ 764 h 764"/>
                <a:gd name="T88" fmla="*/ 288 w 765"/>
                <a:gd name="T89" fmla="*/ 623 h 764"/>
                <a:gd name="T90" fmla="*/ 369 w 765"/>
                <a:gd name="T91" fmla="*/ 637 h 764"/>
                <a:gd name="T92" fmla="*/ 418 w 765"/>
                <a:gd name="T93" fmla="*/ 632 h 764"/>
                <a:gd name="T94" fmla="*/ 464 w 765"/>
                <a:gd name="T95" fmla="*/ 618 h 764"/>
                <a:gd name="T96" fmla="*/ 505 w 765"/>
                <a:gd name="T97" fmla="*/ 595 h 764"/>
                <a:gd name="T98" fmla="*/ 540 w 765"/>
                <a:gd name="T99" fmla="*/ 566 h 764"/>
                <a:gd name="T100" fmla="*/ 570 w 765"/>
                <a:gd name="T101" fmla="*/ 530 h 764"/>
                <a:gd name="T102" fmla="*/ 593 w 765"/>
                <a:gd name="T103" fmla="*/ 489 h 764"/>
                <a:gd name="T104" fmla="*/ 607 w 765"/>
                <a:gd name="T105" fmla="*/ 444 h 764"/>
                <a:gd name="T106" fmla="*/ 611 w 765"/>
                <a:gd name="T107" fmla="*/ 394 h 764"/>
                <a:gd name="T108" fmla="*/ 597 w 765"/>
                <a:gd name="T109" fmla="*/ 313 h 764"/>
                <a:gd name="T110" fmla="*/ 760 w 765"/>
                <a:gd name="T111" fmla="*/ 151 h 764"/>
                <a:gd name="T112" fmla="*/ 765 w 765"/>
                <a:gd name="T113" fmla="*/ 1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764">
                  <a:moveTo>
                    <a:pt x="688" y="186"/>
                  </a:moveTo>
                  <a:lnTo>
                    <a:pt x="642" y="140"/>
                  </a:lnTo>
                  <a:lnTo>
                    <a:pt x="687" y="96"/>
                  </a:lnTo>
                  <a:lnTo>
                    <a:pt x="733" y="141"/>
                  </a:lnTo>
                  <a:lnTo>
                    <a:pt x="688" y="186"/>
                  </a:lnTo>
                  <a:close/>
                  <a:moveTo>
                    <a:pt x="586" y="288"/>
                  </a:moveTo>
                  <a:lnTo>
                    <a:pt x="577" y="271"/>
                  </a:lnTo>
                  <a:lnTo>
                    <a:pt x="566" y="254"/>
                  </a:lnTo>
                  <a:lnTo>
                    <a:pt x="554" y="239"/>
                  </a:lnTo>
                  <a:lnTo>
                    <a:pt x="540" y="225"/>
                  </a:lnTo>
                  <a:lnTo>
                    <a:pt x="526" y="211"/>
                  </a:lnTo>
                  <a:lnTo>
                    <a:pt x="510" y="199"/>
                  </a:lnTo>
                  <a:lnTo>
                    <a:pt x="494" y="188"/>
                  </a:lnTo>
                  <a:lnTo>
                    <a:pt x="477" y="178"/>
                  </a:lnTo>
                  <a:lnTo>
                    <a:pt x="561" y="96"/>
                  </a:lnTo>
                  <a:lnTo>
                    <a:pt x="670" y="203"/>
                  </a:lnTo>
                  <a:lnTo>
                    <a:pt x="586" y="288"/>
                  </a:lnTo>
                  <a:close/>
                  <a:moveTo>
                    <a:pt x="369" y="611"/>
                  </a:moveTo>
                  <a:lnTo>
                    <a:pt x="359" y="611"/>
                  </a:lnTo>
                  <a:lnTo>
                    <a:pt x="347" y="610"/>
                  </a:lnTo>
                  <a:lnTo>
                    <a:pt x="336" y="609"/>
                  </a:lnTo>
                  <a:lnTo>
                    <a:pt x="325" y="607"/>
                  </a:lnTo>
                  <a:lnTo>
                    <a:pt x="305" y="602"/>
                  </a:lnTo>
                  <a:lnTo>
                    <a:pt x="286" y="594"/>
                  </a:lnTo>
                  <a:lnTo>
                    <a:pt x="266" y="585"/>
                  </a:lnTo>
                  <a:lnTo>
                    <a:pt x="248" y="574"/>
                  </a:lnTo>
                  <a:lnTo>
                    <a:pt x="232" y="562"/>
                  </a:lnTo>
                  <a:lnTo>
                    <a:pt x="217" y="548"/>
                  </a:lnTo>
                  <a:lnTo>
                    <a:pt x="203" y="533"/>
                  </a:lnTo>
                  <a:lnTo>
                    <a:pt x="190" y="516"/>
                  </a:lnTo>
                  <a:lnTo>
                    <a:pt x="179" y="497"/>
                  </a:lnTo>
                  <a:lnTo>
                    <a:pt x="170" y="479"/>
                  </a:lnTo>
                  <a:lnTo>
                    <a:pt x="163" y="459"/>
                  </a:lnTo>
                  <a:lnTo>
                    <a:pt x="158" y="438"/>
                  </a:lnTo>
                  <a:lnTo>
                    <a:pt x="156" y="428"/>
                  </a:lnTo>
                  <a:lnTo>
                    <a:pt x="154" y="417"/>
                  </a:lnTo>
                  <a:lnTo>
                    <a:pt x="154" y="406"/>
                  </a:lnTo>
                  <a:lnTo>
                    <a:pt x="153" y="394"/>
                  </a:lnTo>
                  <a:lnTo>
                    <a:pt x="154" y="384"/>
                  </a:lnTo>
                  <a:lnTo>
                    <a:pt x="154" y="373"/>
                  </a:lnTo>
                  <a:lnTo>
                    <a:pt x="156" y="362"/>
                  </a:lnTo>
                  <a:lnTo>
                    <a:pt x="158" y="351"/>
                  </a:lnTo>
                  <a:lnTo>
                    <a:pt x="163" y="331"/>
                  </a:lnTo>
                  <a:lnTo>
                    <a:pt x="170" y="311"/>
                  </a:lnTo>
                  <a:lnTo>
                    <a:pt x="179" y="292"/>
                  </a:lnTo>
                  <a:lnTo>
                    <a:pt x="190" y="274"/>
                  </a:lnTo>
                  <a:lnTo>
                    <a:pt x="203" y="257"/>
                  </a:lnTo>
                  <a:lnTo>
                    <a:pt x="217" y="242"/>
                  </a:lnTo>
                  <a:lnTo>
                    <a:pt x="232" y="228"/>
                  </a:lnTo>
                  <a:lnTo>
                    <a:pt x="248" y="215"/>
                  </a:lnTo>
                  <a:lnTo>
                    <a:pt x="266" y="204"/>
                  </a:lnTo>
                  <a:lnTo>
                    <a:pt x="286" y="196"/>
                  </a:lnTo>
                  <a:lnTo>
                    <a:pt x="305" y="188"/>
                  </a:lnTo>
                  <a:lnTo>
                    <a:pt x="325" y="183"/>
                  </a:lnTo>
                  <a:lnTo>
                    <a:pt x="336" y="181"/>
                  </a:lnTo>
                  <a:lnTo>
                    <a:pt x="347" y="180"/>
                  </a:lnTo>
                  <a:lnTo>
                    <a:pt x="359" y="178"/>
                  </a:lnTo>
                  <a:lnTo>
                    <a:pt x="369" y="178"/>
                  </a:lnTo>
                  <a:lnTo>
                    <a:pt x="380" y="178"/>
                  </a:lnTo>
                  <a:lnTo>
                    <a:pt x="392" y="180"/>
                  </a:lnTo>
                  <a:lnTo>
                    <a:pt x="403" y="181"/>
                  </a:lnTo>
                  <a:lnTo>
                    <a:pt x="413" y="183"/>
                  </a:lnTo>
                  <a:lnTo>
                    <a:pt x="434" y="188"/>
                  </a:lnTo>
                  <a:lnTo>
                    <a:pt x="453" y="196"/>
                  </a:lnTo>
                  <a:lnTo>
                    <a:pt x="473" y="204"/>
                  </a:lnTo>
                  <a:lnTo>
                    <a:pt x="491" y="215"/>
                  </a:lnTo>
                  <a:lnTo>
                    <a:pt x="507" y="228"/>
                  </a:lnTo>
                  <a:lnTo>
                    <a:pt x="523" y="242"/>
                  </a:lnTo>
                  <a:lnTo>
                    <a:pt x="537" y="257"/>
                  </a:lnTo>
                  <a:lnTo>
                    <a:pt x="549" y="274"/>
                  </a:lnTo>
                  <a:lnTo>
                    <a:pt x="560" y="292"/>
                  </a:lnTo>
                  <a:lnTo>
                    <a:pt x="569" y="311"/>
                  </a:lnTo>
                  <a:lnTo>
                    <a:pt x="577" y="331"/>
                  </a:lnTo>
                  <a:lnTo>
                    <a:pt x="582" y="351"/>
                  </a:lnTo>
                  <a:lnTo>
                    <a:pt x="583" y="362"/>
                  </a:lnTo>
                  <a:lnTo>
                    <a:pt x="585" y="373"/>
                  </a:lnTo>
                  <a:lnTo>
                    <a:pt x="585" y="384"/>
                  </a:lnTo>
                  <a:lnTo>
                    <a:pt x="586" y="394"/>
                  </a:lnTo>
                  <a:lnTo>
                    <a:pt x="585" y="406"/>
                  </a:lnTo>
                  <a:lnTo>
                    <a:pt x="585" y="417"/>
                  </a:lnTo>
                  <a:lnTo>
                    <a:pt x="583" y="428"/>
                  </a:lnTo>
                  <a:lnTo>
                    <a:pt x="582" y="438"/>
                  </a:lnTo>
                  <a:lnTo>
                    <a:pt x="577" y="459"/>
                  </a:lnTo>
                  <a:lnTo>
                    <a:pt x="569" y="479"/>
                  </a:lnTo>
                  <a:lnTo>
                    <a:pt x="560" y="497"/>
                  </a:lnTo>
                  <a:lnTo>
                    <a:pt x="549" y="516"/>
                  </a:lnTo>
                  <a:lnTo>
                    <a:pt x="537" y="533"/>
                  </a:lnTo>
                  <a:lnTo>
                    <a:pt x="523" y="548"/>
                  </a:lnTo>
                  <a:lnTo>
                    <a:pt x="507" y="562"/>
                  </a:lnTo>
                  <a:lnTo>
                    <a:pt x="491" y="574"/>
                  </a:lnTo>
                  <a:lnTo>
                    <a:pt x="473" y="585"/>
                  </a:lnTo>
                  <a:lnTo>
                    <a:pt x="453" y="594"/>
                  </a:lnTo>
                  <a:lnTo>
                    <a:pt x="434" y="602"/>
                  </a:lnTo>
                  <a:lnTo>
                    <a:pt x="413" y="607"/>
                  </a:lnTo>
                  <a:lnTo>
                    <a:pt x="403" y="609"/>
                  </a:lnTo>
                  <a:lnTo>
                    <a:pt x="392" y="610"/>
                  </a:lnTo>
                  <a:lnTo>
                    <a:pt x="380" y="611"/>
                  </a:lnTo>
                  <a:lnTo>
                    <a:pt x="369" y="611"/>
                  </a:lnTo>
                  <a:close/>
                  <a:moveTo>
                    <a:pt x="136" y="738"/>
                  </a:moveTo>
                  <a:lnTo>
                    <a:pt x="26" y="738"/>
                  </a:lnTo>
                  <a:lnTo>
                    <a:pt x="26" y="628"/>
                  </a:lnTo>
                  <a:lnTo>
                    <a:pt x="153" y="503"/>
                  </a:lnTo>
                  <a:lnTo>
                    <a:pt x="162" y="520"/>
                  </a:lnTo>
                  <a:lnTo>
                    <a:pt x="173" y="536"/>
                  </a:lnTo>
                  <a:lnTo>
                    <a:pt x="186" y="552"/>
                  </a:lnTo>
                  <a:lnTo>
                    <a:pt x="199" y="566"/>
                  </a:lnTo>
                  <a:lnTo>
                    <a:pt x="213" y="579"/>
                  </a:lnTo>
                  <a:lnTo>
                    <a:pt x="229" y="591"/>
                  </a:lnTo>
                  <a:lnTo>
                    <a:pt x="245" y="602"/>
                  </a:lnTo>
                  <a:lnTo>
                    <a:pt x="262" y="611"/>
                  </a:lnTo>
                  <a:lnTo>
                    <a:pt x="136" y="738"/>
                  </a:lnTo>
                  <a:close/>
                  <a:moveTo>
                    <a:pt x="624" y="31"/>
                  </a:moveTo>
                  <a:lnTo>
                    <a:pt x="670" y="78"/>
                  </a:lnTo>
                  <a:lnTo>
                    <a:pt x="624" y="122"/>
                  </a:lnTo>
                  <a:lnTo>
                    <a:pt x="579" y="76"/>
                  </a:lnTo>
                  <a:lnTo>
                    <a:pt x="624" y="31"/>
                  </a:lnTo>
                  <a:close/>
                  <a:moveTo>
                    <a:pt x="765" y="141"/>
                  </a:moveTo>
                  <a:lnTo>
                    <a:pt x="764" y="137"/>
                  </a:lnTo>
                  <a:lnTo>
                    <a:pt x="760" y="132"/>
                  </a:lnTo>
                  <a:lnTo>
                    <a:pt x="634" y="3"/>
                  </a:lnTo>
                  <a:lnTo>
                    <a:pt x="629" y="1"/>
                  </a:lnTo>
                  <a:lnTo>
                    <a:pt x="624" y="0"/>
                  </a:lnTo>
                  <a:lnTo>
                    <a:pt x="624" y="0"/>
                  </a:lnTo>
                  <a:lnTo>
                    <a:pt x="624" y="0"/>
                  </a:lnTo>
                  <a:lnTo>
                    <a:pt x="620" y="1"/>
                  </a:lnTo>
                  <a:lnTo>
                    <a:pt x="615" y="3"/>
                  </a:lnTo>
                  <a:lnTo>
                    <a:pt x="552" y="67"/>
                  </a:lnTo>
                  <a:lnTo>
                    <a:pt x="451" y="168"/>
                  </a:lnTo>
                  <a:lnTo>
                    <a:pt x="432" y="161"/>
                  </a:lnTo>
                  <a:lnTo>
                    <a:pt x="411" y="157"/>
                  </a:lnTo>
                  <a:lnTo>
                    <a:pt x="391" y="154"/>
                  </a:lnTo>
                  <a:lnTo>
                    <a:pt x="369" y="153"/>
                  </a:lnTo>
                  <a:lnTo>
                    <a:pt x="357" y="153"/>
                  </a:lnTo>
                  <a:lnTo>
                    <a:pt x="345" y="154"/>
                  </a:lnTo>
                  <a:lnTo>
                    <a:pt x="333" y="156"/>
                  </a:lnTo>
                  <a:lnTo>
                    <a:pt x="321" y="158"/>
                  </a:lnTo>
                  <a:lnTo>
                    <a:pt x="309" y="160"/>
                  </a:lnTo>
                  <a:lnTo>
                    <a:pt x="298" y="163"/>
                  </a:lnTo>
                  <a:lnTo>
                    <a:pt x="287" y="168"/>
                  </a:lnTo>
                  <a:lnTo>
                    <a:pt x="275" y="172"/>
                  </a:lnTo>
                  <a:lnTo>
                    <a:pt x="264" y="176"/>
                  </a:lnTo>
                  <a:lnTo>
                    <a:pt x="255" y="182"/>
                  </a:lnTo>
                  <a:lnTo>
                    <a:pt x="244" y="188"/>
                  </a:lnTo>
                  <a:lnTo>
                    <a:pt x="234" y="195"/>
                  </a:lnTo>
                  <a:lnTo>
                    <a:pt x="225" y="201"/>
                  </a:lnTo>
                  <a:lnTo>
                    <a:pt x="216" y="209"/>
                  </a:lnTo>
                  <a:lnTo>
                    <a:pt x="207" y="216"/>
                  </a:lnTo>
                  <a:lnTo>
                    <a:pt x="199" y="224"/>
                  </a:lnTo>
                  <a:lnTo>
                    <a:pt x="190" y="232"/>
                  </a:lnTo>
                  <a:lnTo>
                    <a:pt x="183" y="241"/>
                  </a:lnTo>
                  <a:lnTo>
                    <a:pt x="176" y="250"/>
                  </a:lnTo>
                  <a:lnTo>
                    <a:pt x="169" y="260"/>
                  </a:lnTo>
                  <a:lnTo>
                    <a:pt x="162" y="270"/>
                  </a:lnTo>
                  <a:lnTo>
                    <a:pt x="157" y="279"/>
                  </a:lnTo>
                  <a:lnTo>
                    <a:pt x="152" y="290"/>
                  </a:lnTo>
                  <a:lnTo>
                    <a:pt x="146" y="301"/>
                  </a:lnTo>
                  <a:lnTo>
                    <a:pt x="142" y="312"/>
                  </a:lnTo>
                  <a:lnTo>
                    <a:pt x="139" y="323"/>
                  </a:lnTo>
                  <a:lnTo>
                    <a:pt x="135" y="334"/>
                  </a:lnTo>
                  <a:lnTo>
                    <a:pt x="132" y="346"/>
                  </a:lnTo>
                  <a:lnTo>
                    <a:pt x="130" y="358"/>
                  </a:lnTo>
                  <a:lnTo>
                    <a:pt x="129" y="370"/>
                  </a:lnTo>
                  <a:lnTo>
                    <a:pt x="128" y="383"/>
                  </a:lnTo>
                  <a:lnTo>
                    <a:pt x="128" y="394"/>
                  </a:lnTo>
                  <a:lnTo>
                    <a:pt x="129" y="416"/>
                  </a:lnTo>
                  <a:lnTo>
                    <a:pt x="131" y="437"/>
                  </a:lnTo>
                  <a:lnTo>
                    <a:pt x="136" y="458"/>
                  </a:lnTo>
                  <a:lnTo>
                    <a:pt x="142" y="477"/>
                  </a:lnTo>
                  <a:lnTo>
                    <a:pt x="4" y="613"/>
                  </a:lnTo>
                  <a:lnTo>
                    <a:pt x="1" y="619"/>
                  </a:lnTo>
                  <a:lnTo>
                    <a:pt x="0" y="624"/>
                  </a:lnTo>
                  <a:lnTo>
                    <a:pt x="0" y="751"/>
                  </a:lnTo>
                  <a:lnTo>
                    <a:pt x="1" y="756"/>
                  </a:lnTo>
                  <a:lnTo>
                    <a:pt x="4" y="760"/>
                  </a:lnTo>
                  <a:lnTo>
                    <a:pt x="8" y="763"/>
                  </a:lnTo>
                  <a:lnTo>
                    <a:pt x="13" y="764"/>
                  </a:lnTo>
                  <a:lnTo>
                    <a:pt x="142" y="764"/>
                  </a:lnTo>
                  <a:lnTo>
                    <a:pt x="146" y="763"/>
                  </a:lnTo>
                  <a:lnTo>
                    <a:pt x="150" y="760"/>
                  </a:lnTo>
                  <a:lnTo>
                    <a:pt x="288" y="623"/>
                  </a:lnTo>
                  <a:lnTo>
                    <a:pt x="307" y="628"/>
                  </a:lnTo>
                  <a:lnTo>
                    <a:pt x="328" y="633"/>
                  </a:lnTo>
                  <a:lnTo>
                    <a:pt x="348" y="636"/>
                  </a:lnTo>
                  <a:lnTo>
                    <a:pt x="369" y="637"/>
                  </a:lnTo>
                  <a:lnTo>
                    <a:pt x="382" y="636"/>
                  </a:lnTo>
                  <a:lnTo>
                    <a:pt x="394" y="635"/>
                  </a:lnTo>
                  <a:lnTo>
                    <a:pt x="406" y="634"/>
                  </a:lnTo>
                  <a:lnTo>
                    <a:pt x="418" y="632"/>
                  </a:lnTo>
                  <a:lnTo>
                    <a:pt x="430" y="628"/>
                  </a:lnTo>
                  <a:lnTo>
                    <a:pt x="441" y="625"/>
                  </a:lnTo>
                  <a:lnTo>
                    <a:pt x="452" y="622"/>
                  </a:lnTo>
                  <a:lnTo>
                    <a:pt x="464" y="618"/>
                  </a:lnTo>
                  <a:lnTo>
                    <a:pt x="475" y="612"/>
                  </a:lnTo>
                  <a:lnTo>
                    <a:pt x="484" y="607"/>
                  </a:lnTo>
                  <a:lnTo>
                    <a:pt x="495" y="602"/>
                  </a:lnTo>
                  <a:lnTo>
                    <a:pt x="505" y="595"/>
                  </a:lnTo>
                  <a:lnTo>
                    <a:pt x="514" y="589"/>
                  </a:lnTo>
                  <a:lnTo>
                    <a:pt x="523" y="581"/>
                  </a:lnTo>
                  <a:lnTo>
                    <a:pt x="532" y="574"/>
                  </a:lnTo>
                  <a:lnTo>
                    <a:pt x="540" y="566"/>
                  </a:lnTo>
                  <a:lnTo>
                    <a:pt x="549" y="558"/>
                  </a:lnTo>
                  <a:lnTo>
                    <a:pt x="556" y="549"/>
                  </a:lnTo>
                  <a:lnTo>
                    <a:pt x="564" y="539"/>
                  </a:lnTo>
                  <a:lnTo>
                    <a:pt x="570" y="530"/>
                  </a:lnTo>
                  <a:lnTo>
                    <a:pt x="577" y="520"/>
                  </a:lnTo>
                  <a:lnTo>
                    <a:pt x="582" y="510"/>
                  </a:lnTo>
                  <a:lnTo>
                    <a:pt x="587" y="500"/>
                  </a:lnTo>
                  <a:lnTo>
                    <a:pt x="593" y="489"/>
                  </a:lnTo>
                  <a:lnTo>
                    <a:pt x="597" y="478"/>
                  </a:lnTo>
                  <a:lnTo>
                    <a:pt x="600" y="466"/>
                  </a:lnTo>
                  <a:lnTo>
                    <a:pt x="604" y="456"/>
                  </a:lnTo>
                  <a:lnTo>
                    <a:pt x="607" y="444"/>
                  </a:lnTo>
                  <a:lnTo>
                    <a:pt x="609" y="432"/>
                  </a:lnTo>
                  <a:lnTo>
                    <a:pt x="610" y="419"/>
                  </a:lnTo>
                  <a:lnTo>
                    <a:pt x="611" y="407"/>
                  </a:lnTo>
                  <a:lnTo>
                    <a:pt x="611" y="394"/>
                  </a:lnTo>
                  <a:lnTo>
                    <a:pt x="610" y="374"/>
                  </a:lnTo>
                  <a:lnTo>
                    <a:pt x="608" y="352"/>
                  </a:lnTo>
                  <a:lnTo>
                    <a:pt x="604" y="333"/>
                  </a:lnTo>
                  <a:lnTo>
                    <a:pt x="597" y="313"/>
                  </a:lnTo>
                  <a:lnTo>
                    <a:pt x="697" y="213"/>
                  </a:lnTo>
                  <a:lnTo>
                    <a:pt x="697" y="213"/>
                  </a:lnTo>
                  <a:lnTo>
                    <a:pt x="697" y="213"/>
                  </a:lnTo>
                  <a:lnTo>
                    <a:pt x="760" y="151"/>
                  </a:lnTo>
                  <a:lnTo>
                    <a:pt x="762" y="148"/>
                  </a:lnTo>
                  <a:lnTo>
                    <a:pt x="764" y="146"/>
                  </a:lnTo>
                  <a:lnTo>
                    <a:pt x="764" y="144"/>
                  </a:lnTo>
                  <a:lnTo>
                    <a:pt x="765"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44">
              <a:extLst>
                <a:ext uri="{FF2B5EF4-FFF2-40B4-BE49-F238E27FC236}">
                  <a16:creationId xmlns:a16="http://schemas.microsoft.com/office/drawing/2014/main" id="{2258D351-70E8-4595-912A-99DDC6316EB2}"/>
                </a:ext>
              </a:extLst>
            </p:cNvPr>
            <p:cNvSpPr>
              <a:spLocks/>
            </p:cNvSpPr>
            <p:nvPr/>
          </p:nvSpPr>
          <p:spPr bwMode="auto">
            <a:xfrm>
              <a:off x="4010026" y="4706938"/>
              <a:ext cx="12700" cy="12700"/>
            </a:xfrm>
            <a:custGeom>
              <a:avLst/>
              <a:gdLst>
                <a:gd name="T0" fmla="*/ 16 w 32"/>
                <a:gd name="T1" fmla="*/ 0 h 32"/>
                <a:gd name="T2" fmla="*/ 12 w 32"/>
                <a:gd name="T3" fmla="*/ 0 h 32"/>
                <a:gd name="T4" fmla="*/ 9 w 32"/>
                <a:gd name="T5" fmla="*/ 1 h 32"/>
                <a:gd name="T6" fmla="*/ 6 w 32"/>
                <a:gd name="T7" fmla="*/ 3 h 32"/>
                <a:gd name="T8" fmla="*/ 4 w 32"/>
                <a:gd name="T9" fmla="*/ 5 h 32"/>
                <a:gd name="T10" fmla="*/ 2 w 32"/>
                <a:gd name="T11" fmla="*/ 8 h 32"/>
                <a:gd name="T12" fmla="*/ 1 w 32"/>
                <a:gd name="T13" fmla="*/ 10 h 32"/>
                <a:gd name="T14" fmla="*/ 0 w 32"/>
                <a:gd name="T15" fmla="*/ 13 h 32"/>
                <a:gd name="T16" fmla="*/ 0 w 32"/>
                <a:gd name="T17" fmla="*/ 16 h 32"/>
                <a:gd name="T18" fmla="*/ 0 w 32"/>
                <a:gd name="T19" fmla="*/ 19 h 32"/>
                <a:gd name="T20" fmla="*/ 1 w 32"/>
                <a:gd name="T21" fmla="*/ 23 h 32"/>
                <a:gd name="T22" fmla="*/ 2 w 32"/>
                <a:gd name="T23" fmla="*/ 26 h 32"/>
                <a:gd name="T24" fmla="*/ 4 w 32"/>
                <a:gd name="T25" fmla="*/ 28 h 32"/>
                <a:gd name="T26" fmla="*/ 6 w 32"/>
                <a:gd name="T27" fmla="*/ 29 h 32"/>
                <a:gd name="T28" fmla="*/ 9 w 32"/>
                <a:gd name="T29" fmla="*/ 31 h 32"/>
                <a:gd name="T30" fmla="*/ 12 w 32"/>
                <a:gd name="T31" fmla="*/ 31 h 32"/>
                <a:gd name="T32" fmla="*/ 16 w 32"/>
                <a:gd name="T33" fmla="*/ 32 h 32"/>
                <a:gd name="T34" fmla="*/ 19 w 32"/>
                <a:gd name="T35" fmla="*/ 31 h 32"/>
                <a:gd name="T36" fmla="*/ 22 w 32"/>
                <a:gd name="T37" fmla="*/ 31 h 32"/>
                <a:gd name="T38" fmla="*/ 24 w 32"/>
                <a:gd name="T39" fmla="*/ 29 h 32"/>
                <a:gd name="T40" fmla="*/ 26 w 32"/>
                <a:gd name="T41" fmla="*/ 28 h 32"/>
                <a:gd name="T42" fmla="*/ 29 w 32"/>
                <a:gd name="T43" fmla="*/ 26 h 32"/>
                <a:gd name="T44" fmla="*/ 30 w 32"/>
                <a:gd name="T45" fmla="*/ 23 h 32"/>
                <a:gd name="T46" fmla="*/ 31 w 32"/>
                <a:gd name="T47" fmla="*/ 19 h 32"/>
                <a:gd name="T48" fmla="*/ 32 w 32"/>
                <a:gd name="T49" fmla="*/ 16 h 32"/>
                <a:gd name="T50" fmla="*/ 31 w 32"/>
                <a:gd name="T51" fmla="*/ 13 h 32"/>
                <a:gd name="T52" fmla="*/ 30 w 32"/>
                <a:gd name="T53" fmla="*/ 10 h 32"/>
                <a:gd name="T54" fmla="*/ 29 w 32"/>
                <a:gd name="T55" fmla="*/ 8 h 32"/>
                <a:gd name="T56" fmla="*/ 26 w 32"/>
                <a:gd name="T57" fmla="*/ 5 h 32"/>
                <a:gd name="T58" fmla="*/ 24 w 32"/>
                <a:gd name="T59" fmla="*/ 3 h 32"/>
                <a:gd name="T60" fmla="*/ 22 w 32"/>
                <a:gd name="T61" fmla="*/ 1 h 32"/>
                <a:gd name="T62" fmla="*/ 19 w 32"/>
                <a:gd name="T63" fmla="*/ 0 h 32"/>
                <a:gd name="T64" fmla="*/ 16 w 32"/>
                <a:gd name="T6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2">
                  <a:moveTo>
                    <a:pt x="16" y="0"/>
                  </a:moveTo>
                  <a:lnTo>
                    <a:pt x="12" y="0"/>
                  </a:lnTo>
                  <a:lnTo>
                    <a:pt x="9" y="1"/>
                  </a:lnTo>
                  <a:lnTo>
                    <a:pt x="6" y="3"/>
                  </a:lnTo>
                  <a:lnTo>
                    <a:pt x="4" y="5"/>
                  </a:lnTo>
                  <a:lnTo>
                    <a:pt x="2" y="8"/>
                  </a:lnTo>
                  <a:lnTo>
                    <a:pt x="1" y="10"/>
                  </a:lnTo>
                  <a:lnTo>
                    <a:pt x="0" y="13"/>
                  </a:lnTo>
                  <a:lnTo>
                    <a:pt x="0" y="16"/>
                  </a:lnTo>
                  <a:lnTo>
                    <a:pt x="0" y="19"/>
                  </a:lnTo>
                  <a:lnTo>
                    <a:pt x="1" y="23"/>
                  </a:lnTo>
                  <a:lnTo>
                    <a:pt x="2" y="26"/>
                  </a:lnTo>
                  <a:lnTo>
                    <a:pt x="4" y="28"/>
                  </a:lnTo>
                  <a:lnTo>
                    <a:pt x="6" y="29"/>
                  </a:lnTo>
                  <a:lnTo>
                    <a:pt x="9" y="31"/>
                  </a:lnTo>
                  <a:lnTo>
                    <a:pt x="12" y="31"/>
                  </a:lnTo>
                  <a:lnTo>
                    <a:pt x="16" y="32"/>
                  </a:lnTo>
                  <a:lnTo>
                    <a:pt x="19" y="31"/>
                  </a:lnTo>
                  <a:lnTo>
                    <a:pt x="22" y="31"/>
                  </a:lnTo>
                  <a:lnTo>
                    <a:pt x="24" y="29"/>
                  </a:lnTo>
                  <a:lnTo>
                    <a:pt x="26" y="28"/>
                  </a:lnTo>
                  <a:lnTo>
                    <a:pt x="29" y="26"/>
                  </a:lnTo>
                  <a:lnTo>
                    <a:pt x="30" y="23"/>
                  </a:lnTo>
                  <a:lnTo>
                    <a:pt x="31" y="19"/>
                  </a:lnTo>
                  <a:lnTo>
                    <a:pt x="32" y="16"/>
                  </a:lnTo>
                  <a:lnTo>
                    <a:pt x="31" y="13"/>
                  </a:lnTo>
                  <a:lnTo>
                    <a:pt x="30" y="10"/>
                  </a:lnTo>
                  <a:lnTo>
                    <a:pt x="29" y="8"/>
                  </a:lnTo>
                  <a:lnTo>
                    <a:pt x="26" y="5"/>
                  </a:lnTo>
                  <a:lnTo>
                    <a:pt x="24" y="3"/>
                  </a:lnTo>
                  <a:lnTo>
                    <a:pt x="22" y="1"/>
                  </a:lnTo>
                  <a:lnTo>
                    <a:pt x="19"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45">
              <a:extLst>
                <a:ext uri="{FF2B5EF4-FFF2-40B4-BE49-F238E27FC236}">
                  <a16:creationId xmlns:a16="http://schemas.microsoft.com/office/drawing/2014/main" id="{3BC666CD-180E-437C-B50D-D67295D05A64}"/>
                </a:ext>
              </a:extLst>
            </p:cNvPr>
            <p:cNvSpPr>
              <a:spLocks/>
            </p:cNvSpPr>
            <p:nvPr/>
          </p:nvSpPr>
          <p:spPr bwMode="auto">
            <a:xfrm>
              <a:off x="4029076" y="4686301"/>
              <a:ext cx="14288" cy="14288"/>
            </a:xfrm>
            <a:custGeom>
              <a:avLst/>
              <a:gdLst>
                <a:gd name="T0" fmla="*/ 16 w 32"/>
                <a:gd name="T1" fmla="*/ 0 h 33"/>
                <a:gd name="T2" fmla="*/ 13 w 32"/>
                <a:gd name="T3" fmla="*/ 0 h 33"/>
                <a:gd name="T4" fmla="*/ 10 w 32"/>
                <a:gd name="T5" fmla="*/ 1 h 33"/>
                <a:gd name="T6" fmla="*/ 6 w 32"/>
                <a:gd name="T7" fmla="*/ 3 h 33"/>
                <a:gd name="T8" fmla="*/ 4 w 32"/>
                <a:gd name="T9" fmla="*/ 4 h 33"/>
                <a:gd name="T10" fmla="*/ 2 w 32"/>
                <a:gd name="T11" fmla="*/ 7 h 33"/>
                <a:gd name="T12" fmla="*/ 1 w 32"/>
                <a:gd name="T13" fmla="*/ 9 h 33"/>
                <a:gd name="T14" fmla="*/ 0 w 32"/>
                <a:gd name="T15" fmla="*/ 13 h 33"/>
                <a:gd name="T16" fmla="*/ 0 w 32"/>
                <a:gd name="T17" fmla="*/ 16 h 33"/>
                <a:gd name="T18" fmla="*/ 0 w 32"/>
                <a:gd name="T19" fmla="*/ 19 h 33"/>
                <a:gd name="T20" fmla="*/ 1 w 32"/>
                <a:gd name="T21" fmla="*/ 22 h 33"/>
                <a:gd name="T22" fmla="*/ 2 w 32"/>
                <a:gd name="T23" fmla="*/ 26 h 33"/>
                <a:gd name="T24" fmla="*/ 4 w 32"/>
                <a:gd name="T25" fmla="*/ 28 h 33"/>
                <a:gd name="T26" fmla="*/ 6 w 32"/>
                <a:gd name="T27" fmla="*/ 30 h 33"/>
                <a:gd name="T28" fmla="*/ 10 w 32"/>
                <a:gd name="T29" fmla="*/ 31 h 33"/>
                <a:gd name="T30" fmla="*/ 13 w 32"/>
                <a:gd name="T31" fmla="*/ 32 h 33"/>
                <a:gd name="T32" fmla="*/ 16 w 32"/>
                <a:gd name="T33" fmla="*/ 33 h 33"/>
                <a:gd name="T34" fmla="*/ 19 w 32"/>
                <a:gd name="T35" fmla="*/ 32 h 33"/>
                <a:gd name="T36" fmla="*/ 21 w 32"/>
                <a:gd name="T37" fmla="*/ 31 h 33"/>
                <a:gd name="T38" fmla="*/ 25 w 32"/>
                <a:gd name="T39" fmla="*/ 30 h 33"/>
                <a:gd name="T40" fmla="*/ 27 w 32"/>
                <a:gd name="T41" fmla="*/ 28 h 33"/>
                <a:gd name="T42" fmla="*/ 29 w 32"/>
                <a:gd name="T43" fmla="*/ 26 h 33"/>
                <a:gd name="T44" fmla="*/ 30 w 32"/>
                <a:gd name="T45" fmla="*/ 22 h 33"/>
                <a:gd name="T46" fmla="*/ 31 w 32"/>
                <a:gd name="T47" fmla="*/ 19 h 33"/>
                <a:gd name="T48" fmla="*/ 32 w 32"/>
                <a:gd name="T49" fmla="*/ 16 h 33"/>
                <a:gd name="T50" fmla="*/ 31 w 32"/>
                <a:gd name="T51" fmla="*/ 13 h 33"/>
                <a:gd name="T52" fmla="*/ 30 w 32"/>
                <a:gd name="T53" fmla="*/ 9 h 33"/>
                <a:gd name="T54" fmla="*/ 29 w 32"/>
                <a:gd name="T55" fmla="*/ 7 h 33"/>
                <a:gd name="T56" fmla="*/ 27 w 32"/>
                <a:gd name="T57" fmla="*/ 4 h 33"/>
                <a:gd name="T58" fmla="*/ 25 w 32"/>
                <a:gd name="T59" fmla="*/ 3 h 33"/>
                <a:gd name="T60" fmla="*/ 21 w 32"/>
                <a:gd name="T61" fmla="*/ 1 h 33"/>
                <a:gd name="T62" fmla="*/ 19 w 32"/>
                <a:gd name="T63" fmla="*/ 0 h 33"/>
                <a:gd name="T64" fmla="*/ 16 w 32"/>
                <a:gd name="T6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3">
                  <a:moveTo>
                    <a:pt x="16" y="0"/>
                  </a:moveTo>
                  <a:lnTo>
                    <a:pt x="13" y="0"/>
                  </a:lnTo>
                  <a:lnTo>
                    <a:pt x="10" y="1"/>
                  </a:lnTo>
                  <a:lnTo>
                    <a:pt x="6" y="3"/>
                  </a:lnTo>
                  <a:lnTo>
                    <a:pt x="4" y="4"/>
                  </a:lnTo>
                  <a:lnTo>
                    <a:pt x="2" y="7"/>
                  </a:lnTo>
                  <a:lnTo>
                    <a:pt x="1" y="9"/>
                  </a:lnTo>
                  <a:lnTo>
                    <a:pt x="0" y="13"/>
                  </a:lnTo>
                  <a:lnTo>
                    <a:pt x="0" y="16"/>
                  </a:lnTo>
                  <a:lnTo>
                    <a:pt x="0" y="19"/>
                  </a:lnTo>
                  <a:lnTo>
                    <a:pt x="1" y="22"/>
                  </a:lnTo>
                  <a:lnTo>
                    <a:pt x="2" y="26"/>
                  </a:lnTo>
                  <a:lnTo>
                    <a:pt x="4" y="28"/>
                  </a:lnTo>
                  <a:lnTo>
                    <a:pt x="6" y="30"/>
                  </a:lnTo>
                  <a:lnTo>
                    <a:pt x="10" y="31"/>
                  </a:lnTo>
                  <a:lnTo>
                    <a:pt x="13" y="32"/>
                  </a:lnTo>
                  <a:lnTo>
                    <a:pt x="16" y="33"/>
                  </a:lnTo>
                  <a:lnTo>
                    <a:pt x="19" y="32"/>
                  </a:lnTo>
                  <a:lnTo>
                    <a:pt x="21" y="31"/>
                  </a:lnTo>
                  <a:lnTo>
                    <a:pt x="25" y="30"/>
                  </a:lnTo>
                  <a:lnTo>
                    <a:pt x="27" y="28"/>
                  </a:lnTo>
                  <a:lnTo>
                    <a:pt x="29" y="26"/>
                  </a:lnTo>
                  <a:lnTo>
                    <a:pt x="30" y="22"/>
                  </a:lnTo>
                  <a:lnTo>
                    <a:pt x="31" y="19"/>
                  </a:lnTo>
                  <a:lnTo>
                    <a:pt x="32" y="16"/>
                  </a:lnTo>
                  <a:lnTo>
                    <a:pt x="31" y="13"/>
                  </a:lnTo>
                  <a:lnTo>
                    <a:pt x="30" y="9"/>
                  </a:lnTo>
                  <a:lnTo>
                    <a:pt x="29" y="7"/>
                  </a:lnTo>
                  <a:lnTo>
                    <a:pt x="27" y="4"/>
                  </a:lnTo>
                  <a:lnTo>
                    <a:pt x="25" y="3"/>
                  </a:lnTo>
                  <a:lnTo>
                    <a:pt x="21" y="1"/>
                  </a:lnTo>
                  <a:lnTo>
                    <a:pt x="19"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8" name="Straight Connector 117">
            <a:extLst>
              <a:ext uri="{FF2B5EF4-FFF2-40B4-BE49-F238E27FC236}">
                <a16:creationId xmlns:a16="http://schemas.microsoft.com/office/drawing/2014/main" id="{839014AB-5975-451E-A6D4-16E890F19462}"/>
              </a:ext>
            </a:extLst>
          </p:cNvPr>
          <p:cNvCxnSpPr>
            <a:cxnSpLocks/>
          </p:cNvCxnSpPr>
          <p:nvPr/>
        </p:nvCxnSpPr>
        <p:spPr>
          <a:xfrm>
            <a:off x="5398350"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085D333-A463-4CC7-B5B3-0DEBC51985A6}"/>
              </a:ext>
            </a:extLst>
          </p:cNvPr>
          <p:cNvCxnSpPr>
            <a:cxnSpLocks/>
          </p:cNvCxnSpPr>
          <p:nvPr/>
        </p:nvCxnSpPr>
        <p:spPr>
          <a:xfrm>
            <a:off x="7067494"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3373967-3F0F-4A53-A560-42A25F6D380B}"/>
              </a:ext>
            </a:extLst>
          </p:cNvPr>
          <p:cNvCxnSpPr>
            <a:cxnSpLocks/>
          </p:cNvCxnSpPr>
          <p:nvPr/>
        </p:nvCxnSpPr>
        <p:spPr>
          <a:xfrm>
            <a:off x="8954352"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892501"/>
      </p:ext>
    </p:extLst>
  </p:cSld>
  <p:clrMapOvr>
    <a:masterClrMapping/>
  </p:clrMapOvr>
  <mc:AlternateContent xmlns:mc="http://schemas.openxmlformats.org/markup-compatibility/2006" xmlns:p14="http://schemas.microsoft.com/office/powerpoint/2010/main">
    <mc:Choice Requires="p14">
      <p:transition spd="slow" p14:dur="2000" advTm="24798"/>
    </mc:Choice>
    <mc:Fallback xmlns="">
      <p:transition spd="slow" advTm="24798"/>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F55D8D-2083-49E0-9C32-799920475417}"/>
              </a:ext>
            </a:extLst>
          </p:cNvPr>
          <p:cNvSpPr>
            <a:spLocks noGrp="1"/>
          </p:cNvSpPr>
          <p:nvPr>
            <p:ph type="body" sz="quarter" idx="15"/>
          </p:nvPr>
        </p:nvSpPr>
        <p:spPr>
          <a:xfrm>
            <a:off x="4079772" y="2636318"/>
            <a:ext cx="6614059" cy="1289138"/>
          </a:xfrm>
        </p:spPr>
        <p:txBody>
          <a:bodyPr>
            <a:normAutofit/>
          </a:bodyPr>
          <a:lstStyle/>
          <a:p>
            <a:r>
              <a:rPr lang="en-US" sz="2800" dirty="0"/>
              <a:t>Thank you for attending and we look forward to working together.  </a:t>
            </a:r>
          </a:p>
          <a:p>
            <a:endParaRPr lang="en-US" sz="2800" dirty="0"/>
          </a:p>
          <a:p>
            <a:endParaRPr lang="en-US" sz="2800" dirty="0"/>
          </a:p>
          <a:p>
            <a:endParaRPr lang="en-US" sz="2000" dirty="0"/>
          </a:p>
          <a:p>
            <a:endParaRPr lang="en-US" sz="2000" dirty="0"/>
          </a:p>
        </p:txBody>
      </p:sp>
      <p:sp>
        <p:nvSpPr>
          <p:cNvPr id="4" name="Rectangle 3"/>
          <p:cNvSpPr/>
          <p:nvPr/>
        </p:nvSpPr>
        <p:spPr>
          <a:xfrm>
            <a:off x="4079772" y="4938241"/>
            <a:ext cx="6096000" cy="1420902"/>
          </a:xfrm>
          <a:prstGeom prst="rect">
            <a:avLst/>
          </a:prstGeom>
        </p:spPr>
        <p:txBody>
          <a:bodyPr>
            <a:spAutoFit/>
          </a:bodyPr>
          <a:lstStyle/>
          <a:p>
            <a:pPr>
              <a:spcBef>
                <a:spcPts val="0"/>
              </a:spcBef>
              <a:spcAft>
                <a:spcPts val="450"/>
              </a:spcAft>
            </a:pPr>
            <a:r>
              <a:rPr lang="en-US" sz="2000" b="1" kern="2200" spc="-45" dirty="0">
                <a:solidFill>
                  <a:schemeClr val="accent4"/>
                </a:solidFill>
                <a:ea typeface="Calibri" panose="020F0502020204030204" pitchFamily="34" charset="0"/>
              </a:rPr>
              <a:t>For Additional information regarding our Clinical Claims Review process, please visit</a:t>
            </a:r>
          </a:p>
          <a:p>
            <a:pPr>
              <a:spcBef>
                <a:spcPts val="0"/>
              </a:spcBef>
              <a:spcAft>
                <a:spcPts val="450"/>
              </a:spcAft>
            </a:pPr>
            <a:r>
              <a:rPr lang="en-US" sz="1800" u="sng" dirty="0">
                <a:solidFill>
                  <a:srgbClr val="FF0000"/>
                </a:solidFill>
                <a:effectLst/>
                <a:latin typeface="Arial" panose="020B0604020202020204" pitchFamily="34" charset="0"/>
                <a:ea typeface="Times New Roman" panose="02020603050405020304" pitchFamily="18" charset="0"/>
                <a:cs typeface="Arial" panose="020B0604020202020204" pitchFamily="34" charset="0"/>
                <a:hlinkClick r:id="rId3"/>
              </a:rPr>
              <a:t>https://resources.hms.com/state/colorado/rac</a:t>
            </a:r>
            <a:r>
              <a:rPr lang="en-US" sz="1800" dirty="0">
                <a:effectLst/>
                <a:latin typeface="Arial" panose="020B0604020202020204" pitchFamily="34" charset="0"/>
                <a:ea typeface="Times New Roman" panose="02020603050405020304" pitchFamily="18" charset="0"/>
                <a:cs typeface="Arial" panose="020B0604020202020204" pitchFamily="34" charset="0"/>
              </a:rPr>
              <a:t> </a:t>
            </a:r>
          </a:p>
          <a:p>
            <a:pPr>
              <a:spcBef>
                <a:spcPts val="0"/>
              </a:spcBef>
              <a:spcAft>
                <a:spcPts val="450"/>
              </a:spcAft>
            </a:pPr>
            <a:endParaRPr lang="en-US" sz="2000" b="1" kern="2200" spc="-45" dirty="0">
              <a:solidFill>
                <a:schemeClr val="accent5">
                  <a:lumMod val="50000"/>
                </a:schemeClr>
              </a:solidFill>
              <a:ea typeface="Calibri" panose="020F0502020204030204" pitchFamily="34" charset="0"/>
            </a:endParaRPr>
          </a:p>
        </p:txBody>
      </p:sp>
    </p:spTree>
    <p:extLst>
      <p:ext uri="{BB962C8B-B14F-4D97-AF65-F5344CB8AC3E}">
        <p14:creationId xmlns:p14="http://schemas.microsoft.com/office/powerpoint/2010/main" val="31289074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3F395-1BBE-457E-BA44-53E5565D2837}"/>
              </a:ext>
            </a:extLst>
          </p:cNvPr>
          <p:cNvSpPr/>
          <p:nvPr/>
        </p:nvSpPr>
        <p:spPr>
          <a:xfrm>
            <a:off x="0" y="2197330"/>
            <a:ext cx="12192000" cy="4660669"/>
          </a:xfrm>
          <a:prstGeom prst="rect">
            <a:avLst/>
          </a:prstGeom>
          <a:solidFill>
            <a:schemeClr val="bg1">
              <a:lumMod val="95000"/>
            </a:schemeClr>
          </a:solidFill>
        </p:spPr>
        <p:txBody>
          <a:bodyPr rtlCol="0" anchor="ctr">
            <a:noAutofit/>
          </a:bodyPr>
          <a:lstStyle/>
          <a:p>
            <a:pPr algn="ctr"/>
            <a:endParaRPr lang="id-ID" sz="7200" b="1" spc="-300" dirty="0">
              <a:solidFill>
                <a:schemeClr val="bg1"/>
              </a:solidFill>
            </a:endParaRPr>
          </a:p>
        </p:txBody>
      </p:sp>
      <p:pic>
        <p:nvPicPr>
          <p:cNvPr id="25" name="Picture 24">
            <a:extLst>
              <a:ext uri="{FF2B5EF4-FFF2-40B4-BE49-F238E27FC236}">
                <a16:creationId xmlns:a16="http://schemas.microsoft.com/office/drawing/2014/main" id="{20321F22-D45D-A346-8CB4-A9F7BE93210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017" t="18451" r="16461" b="14378"/>
          <a:stretch/>
        </p:blipFill>
        <p:spPr>
          <a:xfrm>
            <a:off x="6592189" y="2572241"/>
            <a:ext cx="5599812" cy="4285759"/>
          </a:xfrm>
          <a:prstGeom prst="rect">
            <a:avLst/>
          </a:prstGeom>
        </p:spPr>
      </p:pic>
      <p:sp>
        <p:nvSpPr>
          <p:cNvPr id="33" name="Rectangle 32">
            <a:extLst>
              <a:ext uri="{FF2B5EF4-FFF2-40B4-BE49-F238E27FC236}">
                <a16:creationId xmlns:a16="http://schemas.microsoft.com/office/drawing/2014/main" id="{B12EFF4F-07E7-4B0D-B422-364722049B85}"/>
              </a:ext>
            </a:extLst>
          </p:cNvPr>
          <p:cNvSpPr/>
          <p:nvPr/>
        </p:nvSpPr>
        <p:spPr>
          <a:xfrm flipV="1">
            <a:off x="0" y="2872076"/>
            <a:ext cx="12188825" cy="3985924"/>
          </a:xfrm>
          <a:prstGeom prst="rect">
            <a:avLst/>
          </a:prstGeom>
          <a:gradFill flip="none" rotWithShape="1">
            <a:gsLst>
              <a:gs pos="100000">
                <a:schemeClr val="bg1">
                  <a:lumMod val="95000"/>
                </a:schemeClr>
              </a:gs>
              <a:gs pos="4000">
                <a:schemeClr val="bg1">
                  <a:lumMod val="95000"/>
                  <a:alpha val="35000"/>
                </a:schemeClr>
              </a:gs>
            </a:gsLst>
            <a:lin ang="5400000" scaled="1"/>
            <a:tileRect/>
          </a:gradFill>
        </p:spPr>
        <p:txBody>
          <a:bodyPr rtlCol="0" anchor="ctr">
            <a:noAutofit/>
          </a:bodyPr>
          <a:lstStyle/>
          <a:p>
            <a:pPr algn="ctr"/>
            <a:endParaRPr lang="id-ID" sz="7200" b="1" spc="-300" dirty="0">
              <a:solidFill>
                <a:schemeClr val="bg1"/>
              </a:solidFill>
            </a:endParaRPr>
          </a:p>
        </p:txBody>
      </p:sp>
      <p:graphicFrame>
        <p:nvGraphicFramePr>
          <p:cNvPr id="16" name="Object 15" hidden="1">
            <a:extLst>
              <a:ext uri="{FF2B5EF4-FFF2-40B4-BE49-F238E27FC236}">
                <a16:creationId xmlns:a16="http://schemas.microsoft.com/office/drawing/2014/main" id="{E45403BA-74DD-4CC0-9230-70771083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16" name="Object 15" hidden="1">
                        <a:extLst>
                          <a:ext uri="{FF2B5EF4-FFF2-40B4-BE49-F238E27FC236}">
                            <a16:creationId xmlns:a16="http://schemas.microsoft.com/office/drawing/2014/main" id="{E45403BA-74DD-4CC0-9230-70771083C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C3E24B1D-80A7-4679-8A1C-29677338C14F}"/>
              </a:ext>
            </a:extLst>
          </p:cNvPr>
          <p:cNvSpPr/>
          <p:nvPr>
            <p:custDataLst>
              <p:tags r:id="rId2"/>
            </p:custDataLst>
          </p:nvPr>
        </p:nvSpPr>
        <p:spPr>
          <a:xfrm>
            <a:off x="0" y="0"/>
            <a:ext cx="158750" cy="158750"/>
          </a:xfrm>
          <a:prstGeom prst="rect">
            <a:avLst/>
          </a:prstGeom>
          <a:solidFill>
            <a:srgbClr val="3E7BDA"/>
          </a:solidFill>
        </p:spPr>
        <p:txBody>
          <a:bodyPr wrap="none" lIns="0" tIns="0" rIns="0" bIns="0" numCol="1" spcCol="0" rtlCol="0" anchor="ctr" anchorCtr="0">
            <a:noAutofit/>
          </a:bodyPr>
          <a:lstStyle/>
          <a:p>
            <a:pPr algn="ctr"/>
            <a:endParaRPr lang="id-ID" sz="3600" b="1" spc="-3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8" name="Rectangle: Single Corner Rounded 17">
            <a:extLst>
              <a:ext uri="{FF2B5EF4-FFF2-40B4-BE49-F238E27FC236}">
                <a16:creationId xmlns:a16="http://schemas.microsoft.com/office/drawing/2014/main" id="{83585D4D-2579-4D9B-904D-0B5311180198}"/>
              </a:ext>
            </a:extLst>
          </p:cNvPr>
          <p:cNvSpPr/>
          <p:nvPr/>
        </p:nvSpPr>
        <p:spPr>
          <a:xfrm flipH="1">
            <a:off x="3452101" y="19709"/>
            <a:ext cx="8661400" cy="1771650"/>
          </a:xfrm>
          <a:prstGeom prst="round1Rect">
            <a:avLst>
              <a:gd name="adj" fmla="val 0"/>
            </a:avLst>
          </a:prstGeom>
          <a:solidFill>
            <a:srgbClr val="FF6633"/>
          </a:solidFill>
        </p:spPr>
        <p:txBody>
          <a:bodyPr rtlCol="0" anchor="ctr">
            <a:noAutofit/>
          </a:bodyPr>
          <a:lstStyle/>
          <a:p>
            <a:pPr algn="ctr"/>
            <a:endParaRPr lang="id-ID" sz="7200" b="1" spc="-300" dirty="0">
              <a:solidFill>
                <a:schemeClr val="bg1"/>
              </a:solidFill>
            </a:endParaRPr>
          </a:p>
        </p:txBody>
      </p:sp>
      <p:sp>
        <p:nvSpPr>
          <p:cNvPr id="29" name="Rectangle: Top Corners Rounded 28">
            <a:extLst>
              <a:ext uri="{FF2B5EF4-FFF2-40B4-BE49-F238E27FC236}">
                <a16:creationId xmlns:a16="http://schemas.microsoft.com/office/drawing/2014/main" id="{D6C7D622-555E-4E28-9813-BBEE46EA09FC}"/>
              </a:ext>
            </a:extLst>
          </p:cNvPr>
          <p:cNvSpPr/>
          <p:nvPr/>
        </p:nvSpPr>
        <p:spPr>
          <a:xfrm>
            <a:off x="8870083" y="28873"/>
            <a:ext cx="2426958" cy="1933257"/>
          </a:xfrm>
          <a:prstGeom prst="round2SameRect">
            <a:avLst>
              <a:gd name="adj1" fmla="val 0"/>
              <a:gd name="adj2" fmla="val 18018"/>
            </a:avLst>
          </a:prstGeom>
          <a:solidFill>
            <a:schemeClr val="bg1"/>
          </a:solidFill>
        </p:spPr>
        <p:txBody>
          <a:bodyPr rtlCol="0" anchor="ctr">
            <a:noAutofit/>
          </a:bodyPr>
          <a:lstStyle/>
          <a:p>
            <a:pPr algn="ctr"/>
            <a:endParaRPr lang="id-ID" sz="7200" b="1" spc="-300" dirty="0">
              <a:solidFill>
                <a:schemeClr val="bg1"/>
              </a:solidFill>
            </a:endParaRPr>
          </a:p>
        </p:txBody>
      </p:sp>
      <p:sp>
        <p:nvSpPr>
          <p:cNvPr id="2" name="Title 1">
            <a:extLst>
              <a:ext uri="{FF2B5EF4-FFF2-40B4-BE49-F238E27FC236}">
                <a16:creationId xmlns:a16="http://schemas.microsoft.com/office/drawing/2014/main" id="{A5546A18-B5FD-4896-B86A-F163C940BFA0}"/>
              </a:ext>
            </a:extLst>
          </p:cNvPr>
          <p:cNvSpPr>
            <a:spLocks noGrp="1"/>
          </p:cNvSpPr>
          <p:nvPr>
            <p:ph type="title"/>
          </p:nvPr>
        </p:nvSpPr>
        <p:spPr>
          <a:xfrm>
            <a:off x="4055190" y="498692"/>
            <a:ext cx="4028865" cy="1089529"/>
          </a:xfrm>
        </p:spPr>
        <p:txBody>
          <a:bodyPr wrap="square">
            <a:spAutoFit/>
          </a:bodyPr>
          <a:lstStyle/>
          <a:p>
            <a:r>
              <a:rPr lang="id-ID" dirty="0">
                <a:solidFill>
                  <a:schemeClr val="bg1"/>
                </a:solidFill>
              </a:rPr>
              <a:t>Moving healthcare forward.</a:t>
            </a:r>
          </a:p>
        </p:txBody>
      </p:sp>
      <p:pic>
        <p:nvPicPr>
          <p:cNvPr id="20" name="Picture 19" descr="A person wearing a blue shirt&#10;&#10;Description automatically generated">
            <a:extLst>
              <a:ext uri="{FF2B5EF4-FFF2-40B4-BE49-F238E27FC236}">
                <a16:creationId xmlns:a16="http://schemas.microsoft.com/office/drawing/2014/main" id="{E674AB93-C5F1-4177-B736-59F5A37B71A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4830" y="0"/>
            <a:ext cx="4236244" cy="6858000"/>
          </a:xfrm>
          <a:prstGeom prst="rect">
            <a:avLst/>
          </a:prstGeom>
        </p:spPr>
      </p:pic>
      <p:grpSp>
        <p:nvGrpSpPr>
          <p:cNvPr id="22" name="Group 21">
            <a:extLst>
              <a:ext uri="{FF2B5EF4-FFF2-40B4-BE49-F238E27FC236}">
                <a16:creationId xmlns:a16="http://schemas.microsoft.com/office/drawing/2014/main" id="{B10EC962-BA23-43AB-A594-28ADA38F466E}"/>
              </a:ext>
            </a:extLst>
          </p:cNvPr>
          <p:cNvGrpSpPr/>
          <p:nvPr/>
        </p:nvGrpSpPr>
        <p:grpSpPr>
          <a:xfrm>
            <a:off x="8960073" y="261607"/>
            <a:ext cx="1724025" cy="945538"/>
            <a:chOff x="9619910" y="1051128"/>
            <a:chExt cx="1724025" cy="945538"/>
          </a:xfrm>
        </p:grpSpPr>
        <p:pic>
          <p:nvPicPr>
            <p:cNvPr id="9" name="Picture 10" descr="HMSLogo.png">
              <a:extLst>
                <a:ext uri="{FF2B5EF4-FFF2-40B4-BE49-F238E27FC236}">
                  <a16:creationId xmlns:a16="http://schemas.microsoft.com/office/drawing/2014/main" id="{5CBE9000-4DB3-4E9B-A517-C38B087CD286}"/>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619910" y="1051128"/>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a:extLst>
                <a:ext uri="{FF2B5EF4-FFF2-40B4-BE49-F238E27FC236}">
                  <a16:creationId xmlns:a16="http://schemas.microsoft.com/office/drawing/2014/main" id="{8F2F2AFA-6A56-42B2-9C8A-698D8891A9FE}"/>
                </a:ext>
              </a:extLst>
            </p:cNvPr>
            <p:cNvGrpSpPr/>
            <p:nvPr/>
          </p:nvGrpSpPr>
          <p:grpSpPr>
            <a:xfrm>
              <a:off x="9619910" y="1628594"/>
              <a:ext cx="1309654" cy="368072"/>
              <a:chOff x="13117512" y="5883117"/>
              <a:chExt cx="1309654" cy="368072"/>
            </a:xfrm>
          </p:grpSpPr>
          <p:sp>
            <p:nvSpPr>
              <p:cNvPr id="6" name="TextBox 6">
                <a:extLst>
                  <a:ext uri="{FF2B5EF4-FFF2-40B4-BE49-F238E27FC236}">
                    <a16:creationId xmlns:a16="http://schemas.microsoft.com/office/drawing/2014/main" id="{F24C8070-1572-45A2-9F41-B0741843D233}"/>
                  </a:ext>
                </a:extLst>
              </p:cNvPr>
              <p:cNvSpPr txBox="1">
                <a:spLocks noChangeArrowheads="1"/>
              </p:cNvSpPr>
              <p:nvPr/>
            </p:nvSpPr>
            <p:spPr bwMode="auto">
              <a:xfrm>
                <a:off x="13117512" y="5883117"/>
                <a:ext cx="8335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14" name="Text Box 3">
                <a:extLst>
                  <a:ext uri="{FF2B5EF4-FFF2-40B4-BE49-F238E27FC236}">
                    <a16:creationId xmlns:a16="http://schemas.microsoft.com/office/drawing/2014/main" id="{C8F6CC7D-AACA-4EA3-A053-914DBDDAE593}"/>
                  </a:ext>
                </a:extLst>
              </p:cNvPr>
              <p:cNvSpPr txBox="1">
                <a:spLocks noChangeArrowheads="1"/>
              </p:cNvSpPr>
              <p:nvPr/>
            </p:nvSpPr>
            <p:spPr bwMode="blackWhite">
              <a:xfrm>
                <a:off x="13117512" y="6143467"/>
                <a:ext cx="130965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700" b="0" i="0" u="none" strike="noStrike" kern="1200" dirty="0">
                    <a:effectLst/>
                  </a:rPr>
                  <a:t>© 2020 HMS. All rights reserved.</a:t>
                </a:r>
                <a:endParaRPr lang="en-US" altLang="en-US" sz="700" baseline="0" dirty="0">
                  <a:ea typeface="Segoe UI" charset="0"/>
                  <a:cs typeface="Segoe UI" charset="0"/>
                </a:endParaRPr>
              </a:p>
            </p:txBody>
          </p:sp>
        </p:grpSp>
      </p:grpSp>
      <p:sp>
        <p:nvSpPr>
          <p:cNvPr id="34" name="Rectangle: Rounded Corners 33">
            <a:hlinkClick r:id="rId10"/>
            <a:extLst>
              <a:ext uri="{FF2B5EF4-FFF2-40B4-BE49-F238E27FC236}">
                <a16:creationId xmlns:a16="http://schemas.microsoft.com/office/drawing/2014/main" id="{177887EC-8617-42E7-89E4-32A931CA40A9}"/>
              </a:ext>
            </a:extLst>
          </p:cNvPr>
          <p:cNvSpPr/>
          <p:nvPr/>
        </p:nvSpPr>
        <p:spPr>
          <a:xfrm>
            <a:off x="4727721" y="5469880"/>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Chantal.Kalisch@hms.com</a:t>
            </a:r>
          </a:p>
        </p:txBody>
      </p:sp>
      <p:sp>
        <p:nvSpPr>
          <p:cNvPr id="31" name="TextBox 30">
            <a:extLst>
              <a:ext uri="{FF2B5EF4-FFF2-40B4-BE49-F238E27FC236}">
                <a16:creationId xmlns:a16="http://schemas.microsoft.com/office/drawing/2014/main" id="{C5363ABA-3259-42C1-B753-E6D773F11B2B}"/>
              </a:ext>
            </a:extLst>
          </p:cNvPr>
          <p:cNvSpPr txBox="1"/>
          <p:nvPr/>
        </p:nvSpPr>
        <p:spPr>
          <a:xfrm>
            <a:off x="4727721" y="4698401"/>
            <a:ext cx="3024187" cy="553998"/>
          </a:xfrm>
          <a:prstGeom prst="rect">
            <a:avLst/>
          </a:prstGeom>
          <a:noFill/>
        </p:spPr>
        <p:txBody>
          <a:bodyPr wrap="square" lIns="0" tIns="0" rIns="0" bIns="0">
            <a:spAutoFit/>
          </a:bodyPr>
          <a:lstStyle/>
          <a:p>
            <a:pPr algn="ctr"/>
            <a:r>
              <a:rPr lang="en-US" b="1" dirty="0">
                <a:solidFill>
                  <a:srgbClr val="68767E"/>
                </a:solidFill>
              </a:rPr>
              <a:t>Chantal Kalisch- HMS Senior Program Manager</a:t>
            </a:r>
          </a:p>
        </p:txBody>
      </p:sp>
      <p:sp>
        <p:nvSpPr>
          <p:cNvPr id="37" name="TextBox 36">
            <a:extLst>
              <a:ext uri="{FF2B5EF4-FFF2-40B4-BE49-F238E27FC236}">
                <a16:creationId xmlns:a16="http://schemas.microsoft.com/office/drawing/2014/main" id="{AABD6A96-A7CC-48B3-AFF7-C9936CE429D2}"/>
              </a:ext>
            </a:extLst>
          </p:cNvPr>
          <p:cNvSpPr txBox="1"/>
          <p:nvPr/>
        </p:nvSpPr>
        <p:spPr>
          <a:xfrm>
            <a:off x="8289546" y="4694680"/>
            <a:ext cx="3024187" cy="553998"/>
          </a:xfrm>
          <a:prstGeom prst="rect">
            <a:avLst/>
          </a:prstGeom>
          <a:noFill/>
        </p:spPr>
        <p:txBody>
          <a:bodyPr wrap="square" lIns="0" tIns="0" rIns="0" bIns="0">
            <a:spAutoFit/>
          </a:bodyPr>
          <a:lstStyle/>
          <a:p>
            <a:pPr algn="ctr"/>
            <a:r>
              <a:rPr lang="en-US" b="1" dirty="0">
                <a:solidFill>
                  <a:srgbClr val="68767E"/>
                </a:solidFill>
              </a:rPr>
              <a:t>Lorena Sarate- HMS Program Manager</a:t>
            </a:r>
          </a:p>
        </p:txBody>
      </p:sp>
      <p:sp>
        <p:nvSpPr>
          <p:cNvPr id="38" name="Rectangle: Rounded Corners 37">
            <a:hlinkClick r:id="rId11"/>
            <a:extLst>
              <a:ext uri="{FF2B5EF4-FFF2-40B4-BE49-F238E27FC236}">
                <a16:creationId xmlns:a16="http://schemas.microsoft.com/office/drawing/2014/main" id="{98CAE417-8366-4753-8949-8A612692B01A}"/>
              </a:ext>
            </a:extLst>
          </p:cNvPr>
          <p:cNvSpPr/>
          <p:nvPr/>
        </p:nvSpPr>
        <p:spPr>
          <a:xfrm>
            <a:off x="8393597" y="5462057"/>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Lorena.Sarate@hms.com</a:t>
            </a:r>
          </a:p>
        </p:txBody>
      </p:sp>
      <p:grpSp>
        <p:nvGrpSpPr>
          <p:cNvPr id="26" name="Group 11">
            <a:extLst>
              <a:ext uri="{FF2B5EF4-FFF2-40B4-BE49-F238E27FC236}">
                <a16:creationId xmlns:a16="http://schemas.microsoft.com/office/drawing/2014/main" id="{27F192A5-CA79-0C41-82B9-004CE0F305B4}"/>
              </a:ext>
            </a:extLst>
          </p:cNvPr>
          <p:cNvGrpSpPr>
            <a:grpSpLocks/>
          </p:cNvGrpSpPr>
          <p:nvPr/>
        </p:nvGrpSpPr>
        <p:grpSpPr bwMode="auto">
          <a:xfrm>
            <a:off x="9085678" y="1439591"/>
            <a:ext cx="715962" cy="220663"/>
            <a:chOff x="556099" y="5706475"/>
            <a:chExt cx="716520" cy="220360"/>
          </a:xfrm>
        </p:grpSpPr>
        <p:pic>
          <p:nvPicPr>
            <p:cNvPr id="30" name="Picture 12">
              <a:extLst>
                <a:ext uri="{FF2B5EF4-FFF2-40B4-BE49-F238E27FC236}">
                  <a16:creationId xmlns:a16="http://schemas.microsoft.com/office/drawing/2014/main" id="{0084D670-B494-AC4E-A172-F0A1A32786E5}"/>
                </a:ext>
              </a:extLst>
            </p:cNvPr>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3">
              <a:extLst>
                <a:ext uri="{FF2B5EF4-FFF2-40B4-BE49-F238E27FC236}">
                  <a16:creationId xmlns:a16="http://schemas.microsoft.com/office/drawing/2014/main" id="{CC9DC9D2-604D-F440-950F-C177D419B294}"/>
                </a:ext>
              </a:extLst>
            </p:cNvPr>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4">
              <a:extLst>
                <a:ext uri="{FF2B5EF4-FFF2-40B4-BE49-F238E27FC236}">
                  <a16:creationId xmlns:a16="http://schemas.microsoft.com/office/drawing/2014/main" id="{6DE08FDB-D3DA-DC41-B92A-20BD2D53E6B9}"/>
                </a:ext>
              </a:extLst>
            </p:cNvPr>
            <p:cNvPicPr>
              <a:picLocks noChangeAspect="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TextBox 23">
            <a:extLst>
              <a:ext uri="{FF2B5EF4-FFF2-40B4-BE49-F238E27FC236}">
                <a16:creationId xmlns:a16="http://schemas.microsoft.com/office/drawing/2014/main" id="{C1CD40F2-023E-4746-97FE-248FDBBF6B73}"/>
              </a:ext>
            </a:extLst>
          </p:cNvPr>
          <p:cNvSpPr txBox="1"/>
          <p:nvPr/>
        </p:nvSpPr>
        <p:spPr>
          <a:xfrm>
            <a:off x="4727721" y="2749276"/>
            <a:ext cx="3024187" cy="1107996"/>
          </a:xfrm>
          <a:prstGeom prst="rect">
            <a:avLst/>
          </a:prstGeom>
          <a:noFill/>
        </p:spPr>
        <p:txBody>
          <a:bodyPr wrap="square" lIns="0" tIns="0" rIns="0" bIns="0">
            <a:spAutoFit/>
          </a:bodyPr>
          <a:lstStyle/>
          <a:p>
            <a:pPr algn="ctr"/>
            <a:r>
              <a:rPr lang="en-US" b="1" dirty="0">
                <a:solidFill>
                  <a:srgbClr val="68767E"/>
                </a:solidFill>
              </a:rPr>
              <a:t>Alyssa Gilger- Recovery Audit Contract Section Manager </a:t>
            </a:r>
          </a:p>
          <a:p>
            <a:pPr algn="ctr"/>
            <a:endParaRPr lang="en-US" b="1" dirty="0">
              <a:solidFill>
                <a:srgbClr val="68767E"/>
              </a:solidFill>
            </a:endParaRPr>
          </a:p>
        </p:txBody>
      </p:sp>
      <p:sp>
        <p:nvSpPr>
          <p:cNvPr id="28" name="Rectangle: Rounded Corners 27">
            <a:hlinkClick r:id="rId10"/>
            <a:extLst>
              <a:ext uri="{FF2B5EF4-FFF2-40B4-BE49-F238E27FC236}">
                <a16:creationId xmlns:a16="http://schemas.microsoft.com/office/drawing/2014/main" id="{4FBC1EB1-7380-400B-9958-B143143A94AA}"/>
              </a:ext>
            </a:extLst>
          </p:cNvPr>
          <p:cNvSpPr/>
          <p:nvPr/>
        </p:nvSpPr>
        <p:spPr>
          <a:xfrm>
            <a:off x="4727721" y="3655867"/>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Alyssa.Gilger@state.co.us</a:t>
            </a:r>
            <a:endParaRPr lang="id-ID" sz="1400" dirty="0">
              <a:solidFill>
                <a:schemeClr val="bg1"/>
              </a:solidFill>
            </a:endParaRPr>
          </a:p>
        </p:txBody>
      </p:sp>
      <p:sp>
        <p:nvSpPr>
          <p:cNvPr id="32" name="TextBox 31">
            <a:extLst>
              <a:ext uri="{FF2B5EF4-FFF2-40B4-BE49-F238E27FC236}">
                <a16:creationId xmlns:a16="http://schemas.microsoft.com/office/drawing/2014/main" id="{93787E64-88B3-492E-91C4-66257DA0C2E7}"/>
              </a:ext>
            </a:extLst>
          </p:cNvPr>
          <p:cNvSpPr txBox="1"/>
          <p:nvPr/>
        </p:nvSpPr>
        <p:spPr>
          <a:xfrm>
            <a:off x="8459461" y="2740137"/>
            <a:ext cx="3024187" cy="553998"/>
          </a:xfrm>
          <a:prstGeom prst="rect">
            <a:avLst/>
          </a:prstGeom>
          <a:noFill/>
        </p:spPr>
        <p:txBody>
          <a:bodyPr wrap="square" lIns="0" tIns="0" rIns="0" bIns="0">
            <a:spAutoFit/>
          </a:bodyPr>
          <a:lstStyle/>
          <a:p>
            <a:pPr algn="ctr"/>
            <a:r>
              <a:rPr lang="en-US" b="1" dirty="0">
                <a:solidFill>
                  <a:srgbClr val="68767E"/>
                </a:solidFill>
              </a:rPr>
              <a:t>Tara Wingo- HMS Program Director</a:t>
            </a:r>
          </a:p>
        </p:txBody>
      </p:sp>
      <p:sp>
        <p:nvSpPr>
          <p:cNvPr id="39" name="Rectangle: Rounded Corners 38">
            <a:hlinkClick r:id="rId11"/>
            <a:extLst>
              <a:ext uri="{FF2B5EF4-FFF2-40B4-BE49-F238E27FC236}">
                <a16:creationId xmlns:a16="http://schemas.microsoft.com/office/drawing/2014/main" id="{BEA87EB4-0A6D-4BC9-8B2D-D5C8403E679F}"/>
              </a:ext>
            </a:extLst>
          </p:cNvPr>
          <p:cNvSpPr/>
          <p:nvPr/>
        </p:nvSpPr>
        <p:spPr>
          <a:xfrm>
            <a:off x="8519833" y="3654551"/>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Tara.Wingo@hms.com</a:t>
            </a:r>
          </a:p>
        </p:txBody>
      </p:sp>
    </p:spTree>
    <p:extLst>
      <p:ext uri="{BB962C8B-B14F-4D97-AF65-F5344CB8AC3E}">
        <p14:creationId xmlns:p14="http://schemas.microsoft.com/office/powerpoint/2010/main" val="1039179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755658-04BE-49B5-9683-B5ACF7659D78}"/>
              </a:ext>
            </a:extLst>
          </p:cNvPr>
          <p:cNvSpPr>
            <a:spLocks noGrp="1"/>
          </p:cNvSpPr>
          <p:nvPr>
            <p:ph type="title"/>
          </p:nvPr>
        </p:nvSpPr>
        <p:spPr>
          <a:xfrm>
            <a:off x="250827" y="2381250"/>
            <a:ext cx="7731235" cy="3280089"/>
          </a:xfrm>
        </p:spPr>
        <p:txBody>
          <a:bodyPr anchor="ctr"/>
          <a:lstStyle/>
          <a:p>
            <a:r>
              <a:rPr lang="en-US" dirty="0"/>
              <a:t>Audit Process</a:t>
            </a:r>
          </a:p>
        </p:txBody>
      </p:sp>
      <p:sp>
        <p:nvSpPr>
          <p:cNvPr id="2" name="Slide Number Placeholder 1">
            <a:extLst>
              <a:ext uri="{FF2B5EF4-FFF2-40B4-BE49-F238E27FC236}">
                <a16:creationId xmlns:a16="http://schemas.microsoft.com/office/drawing/2014/main" id="{32B36DFD-796C-4AAE-902E-61CDC5CEC8D7}"/>
              </a:ext>
            </a:extLst>
          </p:cNvPr>
          <p:cNvSpPr>
            <a:spLocks noGrp="1"/>
          </p:cNvSpPr>
          <p:nvPr>
            <p:ph type="sldNum" sz="quarter" idx="4294967295"/>
          </p:nvPr>
        </p:nvSpPr>
        <p:spPr>
          <a:xfrm>
            <a:off x="9448800" y="628650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87677F-9EE0-1D46-953C-F8704949B36A}"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uk-UA" altLang="en-US" sz="700" b="0" i="0" u="none" strike="noStrike" kern="1200" cap="none" spc="0" normalizeH="0" baseline="0" noProof="0" dirty="0">
              <a:ln>
                <a:noFill/>
              </a:ln>
              <a:solidFill>
                <a:srgbClr val="FFFFFF"/>
              </a:solidFill>
              <a:effectLst/>
              <a:uLnTx/>
              <a:uFillTx/>
              <a:latin typeface="Arial" charset="0"/>
              <a:cs typeface="Arial" charset="0"/>
            </a:endParaRPr>
          </a:p>
        </p:txBody>
      </p:sp>
      <p:sp>
        <p:nvSpPr>
          <p:cNvPr id="4" name="Footer Placeholder 5">
            <a:extLst>
              <a:ext uri="{FF2B5EF4-FFF2-40B4-BE49-F238E27FC236}">
                <a16:creationId xmlns:a16="http://schemas.microsoft.com/office/drawing/2014/main" id="{BCC52B4B-E119-5C64-121B-9E75FAC9DB7A}"/>
              </a:ext>
            </a:extLst>
          </p:cNvPr>
          <p:cNvSpPr txBox="1">
            <a:spLocks/>
          </p:cNvSpPr>
          <p:nvPr/>
        </p:nvSpPr>
        <p:spPr>
          <a:xfrm>
            <a:off x="838200" y="6456362"/>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39566798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42AE35-3D03-4237-B069-37568C20C636}"/>
              </a:ext>
            </a:extLst>
          </p:cNvPr>
          <p:cNvSpPr>
            <a:spLocks noGrp="1"/>
          </p:cNvSpPr>
          <p:nvPr>
            <p:ph type="title"/>
          </p:nvPr>
        </p:nvSpPr>
        <p:spPr>
          <a:xfrm>
            <a:off x="161554" y="-302208"/>
            <a:ext cx="10162034" cy="1325563"/>
          </a:xfrm>
        </p:spPr>
        <p:txBody>
          <a:bodyPr/>
          <a:lstStyle/>
          <a:p>
            <a:r>
              <a:rPr lang="en-US" dirty="0"/>
              <a:t>Overview of Audit Process</a:t>
            </a:r>
          </a:p>
        </p:txBody>
      </p:sp>
      <p:sp>
        <p:nvSpPr>
          <p:cNvPr id="4" name="Slide Number Placeholder 3">
            <a:extLst>
              <a:ext uri="{FF2B5EF4-FFF2-40B4-BE49-F238E27FC236}">
                <a16:creationId xmlns:a16="http://schemas.microsoft.com/office/drawing/2014/main" id="{F4A2DC26-1813-43ED-AF73-232FF9C3486E}"/>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grpSp>
        <p:nvGrpSpPr>
          <p:cNvPr id="6" name="Group 5"/>
          <p:cNvGrpSpPr/>
          <p:nvPr/>
        </p:nvGrpSpPr>
        <p:grpSpPr>
          <a:xfrm>
            <a:off x="317621" y="557358"/>
            <a:ext cx="11036179" cy="5933053"/>
            <a:chOff x="838199" y="2668730"/>
            <a:chExt cx="10738775" cy="3578328"/>
          </a:xfrm>
        </p:grpSpPr>
        <p:cxnSp>
          <p:nvCxnSpPr>
            <p:cNvPr id="36" name="Straight Connector 35">
              <a:extLst>
                <a:ext uri="{FF2B5EF4-FFF2-40B4-BE49-F238E27FC236}">
                  <a16:creationId xmlns:a16="http://schemas.microsoft.com/office/drawing/2014/main" id="{468D8A6F-8935-461C-A977-28DAF378AB3C}"/>
                </a:ext>
              </a:extLst>
            </p:cNvPr>
            <p:cNvCxnSpPr>
              <a:cxnSpLocks/>
            </p:cNvCxnSpPr>
            <p:nvPr/>
          </p:nvCxnSpPr>
          <p:spPr>
            <a:xfrm flipH="1">
              <a:off x="1066050" y="2686626"/>
              <a:ext cx="10510924" cy="0"/>
            </a:xfrm>
            <a:prstGeom prst="line">
              <a:avLst/>
            </a:prstGeom>
            <a:ln w="0">
              <a:solidFill>
                <a:schemeClr val="bg1">
                  <a:lumMod val="85000"/>
                </a:schemeClr>
              </a:solidFill>
              <a:prstDash val="dash"/>
              <a:headEnd type="triangle" w="lg" len="lg"/>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F5C67D97-1043-47F3-A763-0F31A95F3EED}"/>
                </a:ext>
              </a:extLst>
            </p:cNvPr>
            <p:cNvCxnSpPr>
              <a:cxnSpLocks/>
            </p:cNvCxnSpPr>
            <p:nvPr/>
          </p:nvCxnSpPr>
          <p:spPr>
            <a:xfrm flipH="1">
              <a:off x="940280" y="3636570"/>
              <a:ext cx="10510924" cy="0"/>
            </a:xfrm>
            <a:prstGeom prst="line">
              <a:avLst/>
            </a:prstGeom>
            <a:ln w="0">
              <a:solidFill>
                <a:schemeClr val="bg1">
                  <a:lumMod val="85000"/>
                </a:schemeClr>
              </a:solidFill>
              <a:prstDash val="dash"/>
              <a:headEnd type="triangle" w="lg" len="lg"/>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521725A-2284-4BE7-A7C2-F92566BAD913}"/>
                </a:ext>
              </a:extLst>
            </p:cNvPr>
            <p:cNvCxnSpPr>
              <a:cxnSpLocks/>
            </p:cNvCxnSpPr>
            <p:nvPr/>
          </p:nvCxnSpPr>
          <p:spPr>
            <a:xfrm flipH="1">
              <a:off x="886084" y="4513866"/>
              <a:ext cx="10510924" cy="0"/>
            </a:xfrm>
            <a:prstGeom prst="line">
              <a:avLst/>
            </a:prstGeom>
            <a:ln w="0">
              <a:solidFill>
                <a:schemeClr val="bg1">
                  <a:lumMod val="85000"/>
                </a:schemeClr>
              </a:solidFill>
              <a:prstDash val="dash"/>
              <a:headEnd type="triangle" w="lg" len="lg"/>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1290BF3-FBAC-45FE-8C97-13DFAB58C3F2}"/>
                </a:ext>
              </a:extLst>
            </p:cNvPr>
            <p:cNvCxnSpPr>
              <a:cxnSpLocks/>
            </p:cNvCxnSpPr>
            <p:nvPr/>
          </p:nvCxnSpPr>
          <p:spPr>
            <a:xfrm flipH="1">
              <a:off x="886084" y="5417126"/>
              <a:ext cx="10510924" cy="0"/>
            </a:xfrm>
            <a:prstGeom prst="line">
              <a:avLst/>
            </a:prstGeom>
            <a:ln w="0">
              <a:solidFill>
                <a:schemeClr val="bg1">
                  <a:lumMod val="85000"/>
                </a:schemeClr>
              </a:solidFill>
              <a:prstDash val="dash"/>
              <a:headEnd type="triangle" w="lg" len="lg"/>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838199" y="2668730"/>
              <a:ext cx="10550130" cy="3578328"/>
              <a:chOff x="838199" y="2668730"/>
              <a:chExt cx="10550130" cy="3578328"/>
            </a:xfrm>
          </p:grpSpPr>
          <p:cxnSp>
            <p:nvCxnSpPr>
              <p:cNvPr id="71" name="Straight Connector 70">
                <a:extLst>
                  <a:ext uri="{FF2B5EF4-FFF2-40B4-BE49-F238E27FC236}">
                    <a16:creationId xmlns:a16="http://schemas.microsoft.com/office/drawing/2014/main" id="{C3569E25-E303-474F-B901-8F4DD2F5A807}"/>
                  </a:ext>
                </a:extLst>
              </p:cNvPr>
              <p:cNvCxnSpPr>
                <a:cxnSpLocks/>
              </p:cNvCxnSpPr>
              <p:nvPr/>
            </p:nvCxnSpPr>
            <p:spPr>
              <a:xfrm flipH="1">
                <a:off x="840538" y="6247058"/>
                <a:ext cx="10510924" cy="0"/>
              </a:xfrm>
              <a:prstGeom prst="line">
                <a:avLst/>
              </a:prstGeom>
              <a:ln w="0">
                <a:solidFill>
                  <a:schemeClr val="bg1">
                    <a:lumMod val="85000"/>
                  </a:schemeClr>
                </a:solidFill>
                <a:prstDash val="dash"/>
                <a:headEnd type="triangle" w="lg" len="lg"/>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B3496812-7E7D-47AC-AA36-B0F82DAF26CF}"/>
                  </a:ext>
                </a:extLst>
              </p:cNvPr>
              <p:cNvSpPr txBox="1"/>
              <p:nvPr/>
            </p:nvSpPr>
            <p:spPr>
              <a:xfrm>
                <a:off x="5116681" y="5768568"/>
                <a:ext cx="6234780" cy="125515"/>
              </a:xfrm>
              <a:prstGeom prst="rect">
                <a:avLst/>
              </a:prstGeom>
              <a:noFill/>
            </p:spPr>
            <p:txBody>
              <a:bodyPr wrap="square" lIns="0" tIns="0" rIns="0" bIns="0" rtlCol="0" anchor="ctr">
                <a:spAutoFit/>
              </a:bodyPr>
              <a:lstStyle>
                <a:defPPr>
                  <a:defRPr lang="en-US"/>
                </a:defPPr>
                <a:lvl1pPr marL="274320" indent="-274320">
                  <a:buClr>
                    <a:schemeClr val="accent4"/>
                  </a:buClr>
                  <a:buFont typeface="Arial" panose="020B0604020202020204" pitchFamily="34" charset="0"/>
                  <a:buChar char="›"/>
                  <a:defRPr sz="1200"/>
                </a:lvl1pPr>
              </a:lstStyle>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67" name="Rectangle: Top Corners Rounded 66">
                <a:extLst>
                  <a:ext uri="{FF2B5EF4-FFF2-40B4-BE49-F238E27FC236}">
                    <a16:creationId xmlns:a16="http://schemas.microsoft.com/office/drawing/2014/main" id="{5E22D2FD-548A-4132-AD44-FBA8590F3464}"/>
                  </a:ext>
                </a:extLst>
              </p:cNvPr>
              <p:cNvSpPr/>
              <p:nvPr/>
            </p:nvSpPr>
            <p:spPr>
              <a:xfrm rot="5400000">
                <a:off x="2556698" y="3747255"/>
                <a:ext cx="731148" cy="4168142"/>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C79E5446-3496-47E3-AF9F-4BB6F15B905A}"/>
                  </a:ext>
                </a:extLst>
              </p:cNvPr>
              <p:cNvSpPr txBox="1"/>
              <p:nvPr/>
            </p:nvSpPr>
            <p:spPr>
              <a:xfrm>
                <a:off x="1126781" y="5677344"/>
                <a:ext cx="3224107" cy="318769"/>
              </a:xfrm>
              <a:prstGeom prst="rect">
                <a:avLst/>
              </a:prstGeom>
              <a:noFill/>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n-US" sz="1600" b="1" dirty="0">
                    <a:solidFill>
                      <a:srgbClr val="FFFFFF"/>
                    </a:solidFill>
                  </a:rPr>
                  <a:t>Informal Reconsideration and Appeals</a:t>
                </a:r>
                <a:endParaRPr kumimoji="0" lang="en-US" sz="1600" b="1"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69" name="Rectangle: Rounded Corners 68">
                <a:extLst>
                  <a:ext uri="{FF2B5EF4-FFF2-40B4-BE49-F238E27FC236}">
                    <a16:creationId xmlns:a16="http://schemas.microsoft.com/office/drawing/2014/main" id="{5345367F-507B-4E94-8125-F3A82ECFEA87}"/>
                  </a:ext>
                </a:extLst>
              </p:cNvPr>
              <p:cNvSpPr/>
              <p:nvPr/>
            </p:nvSpPr>
            <p:spPr>
              <a:xfrm>
                <a:off x="4350888" y="5547975"/>
                <a:ext cx="568776" cy="56670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72" name="Group 71">
                <a:extLst>
                  <a:ext uri="{FF2B5EF4-FFF2-40B4-BE49-F238E27FC236}">
                    <a16:creationId xmlns:a16="http://schemas.microsoft.com/office/drawing/2014/main" id="{88E8CB07-D9D4-40BA-942E-F50D3E41BF22}"/>
                  </a:ext>
                </a:extLst>
              </p:cNvPr>
              <p:cNvGrpSpPr/>
              <p:nvPr/>
            </p:nvGrpSpPr>
            <p:grpSpPr>
              <a:xfrm>
                <a:off x="4534827" y="5662982"/>
                <a:ext cx="200898" cy="336690"/>
                <a:chOff x="1508125" y="1925638"/>
                <a:chExt cx="171450" cy="287338"/>
              </a:xfrm>
              <a:solidFill>
                <a:schemeClr val="bg1"/>
              </a:solidFill>
            </p:grpSpPr>
            <p:sp>
              <p:nvSpPr>
                <p:cNvPr id="73" name="Freeform 85">
                  <a:extLst>
                    <a:ext uri="{FF2B5EF4-FFF2-40B4-BE49-F238E27FC236}">
                      <a16:creationId xmlns:a16="http://schemas.microsoft.com/office/drawing/2014/main" id="{5BE531C6-DCCE-463B-860C-9DF9B6384861}"/>
                    </a:ext>
                  </a:extLst>
                </p:cNvPr>
                <p:cNvSpPr>
                  <a:spLocks noEditPoints="1"/>
                </p:cNvSpPr>
                <p:nvPr/>
              </p:nvSpPr>
              <p:spPr bwMode="auto">
                <a:xfrm>
                  <a:off x="1508125" y="1965325"/>
                  <a:ext cx="66675" cy="247650"/>
                </a:xfrm>
                <a:custGeom>
                  <a:avLst/>
                  <a:gdLst>
                    <a:gd name="T0" fmla="*/ 104 w 211"/>
                    <a:gd name="T1" fmla="*/ 752 h 783"/>
                    <a:gd name="T2" fmla="*/ 90 w 211"/>
                    <a:gd name="T3" fmla="*/ 749 h 783"/>
                    <a:gd name="T4" fmla="*/ 69 w 211"/>
                    <a:gd name="T5" fmla="*/ 742 h 783"/>
                    <a:gd name="T6" fmla="*/ 52 w 211"/>
                    <a:gd name="T7" fmla="*/ 730 h 783"/>
                    <a:gd name="T8" fmla="*/ 42 w 211"/>
                    <a:gd name="T9" fmla="*/ 720 h 783"/>
                    <a:gd name="T10" fmla="*/ 35 w 211"/>
                    <a:gd name="T11" fmla="*/ 709 h 783"/>
                    <a:gd name="T12" fmla="*/ 32 w 211"/>
                    <a:gd name="T13" fmla="*/ 698 h 783"/>
                    <a:gd name="T14" fmla="*/ 30 w 211"/>
                    <a:gd name="T15" fmla="*/ 662 h 783"/>
                    <a:gd name="T16" fmla="*/ 181 w 211"/>
                    <a:gd name="T17" fmla="*/ 692 h 783"/>
                    <a:gd name="T18" fmla="*/ 180 w 211"/>
                    <a:gd name="T19" fmla="*/ 704 h 783"/>
                    <a:gd name="T20" fmla="*/ 175 w 211"/>
                    <a:gd name="T21" fmla="*/ 716 h 783"/>
                    <a:gd name="T22" fmla="*/ 167 w 211"/>
                    <a:gd name="T23" fmla="*/ 726 h 783"/>
                    <a:gd name="T24" fmla="*/ 158 w 211"/>
                    <a:gd name="T25" fmla="*/ 735 h 783"/>
                    <a:gd name="T26" fmla="*/ 135 w 211"/>
                    <a:gd name="T27" fmla="*/ 748 h 783"/>
                    <a:gd name="T28" fmla="*/ 123 w 211"/>
                    <a:gd name="T29" fmla="*/ 751 h 783"/>
                    <a:gd name="T30" fmla="*/ 110 w 211"/>
                    <a:gd name="T31" fmla="*/ 752 h 783"/>
                    <a:gd name="T32" fmla="*/ 172 w 211"/>
                    <a:gd name="T33" fmla="*/ 179 h 783"/>
                    <a:gd name="T34" fmla="*/ 106 w 211"/>
                    <a:gd name="T35" fmla="*/ 47 h 783"/>
                    <a:gd name="T36" fmla="*/ 181 w 211"/>
                    <a:gd name="T37" fmla="*/ 602 h 783"/>
                    <a:gd name="T38" fmla="*/ 30 w 211"/>
                    <a:gd name="T39" fmla="*/ 632 h 783"/>
                    <a:gd name="T40" fmla="*/ 181 w 211"/>
                    <a:gd name="T41" fmla="*/ 209 h 783"/>
                    <a:gd name="T42" fmla="*/ 121 w 211"/>
                    <a:gd name="T43" fmla="*/ 572 h 783"/>
                    <a:gd name="T44" fmla="*/ 181 w 211"/>
                    <a:gd name="T45" fmla="*/ 209 h 783"/>
                    <a:gd name="T46" fmla="*/ 91 w 211"/>
                    <a:gd name="T47" fmla="*/ 572 h 783"/>
                    <a:gd name="T48" fmla="*/ 30 w 211"/>
                    <a:gd name="T49" fmla="*/ 209 h 783"/>
                    <a:gd name="T50" fmla="*/ 210 w 211"/>
                    <a:gd name="T51" fmla="*/ 188 h 783"/>
                    <a:gd name="T52" fmla="*/ 118 w 211"/>
                    <a:gd name="T53" fmla="*/ 4 h 783"/>
                    <a:gd name="T54" fmla="*/ 110 w 211"/>
                    <a:gd name="T55" fmla="*/ 0 h 783"/>
                    <a:gd name="T56" fmla="*/ 103 w 211"/>
                    <a:gd name="T57" fmla="*/ 0 h 783"/>
                    <a:gd name="T58" fmla="*/ 95 w 211"/>
                    <a:gd name="T59" fmla="*/ 4 h 783"/>
                    <a:gd name="T60" fmla="*/ 3 w 211"/>
                    <a:gd name="T61" fmla="*/ 188 h 783"/>
                    <a:gd name="T62" fmla="*/ 3 w 211"/>
                    <a:gd name="T63" fmla="*/ 188 h 783"/>
                    <a:gd name="T64" fmla="*/ 0 w 211"/>
                    <a:gd name="T65" fmla="*/ 194 h 783"/>
                    <a:gd name="T66" fmla="*/ 1 w 211"/>
                    <a:gd name="T67" fmla="*/ 702 h 783"/>
                    <a:gd name="T68" fmla="*/ 7 w 211"/>
                    <a:gd name="T69" fmla="*/ 719 h 783"/>
                    <a:gd name="T70" fmla="*/ 15 w 211"/>
                    <a:gd name="T71" fmla="*/ 735 h 783"/>
                    <a:gd name="T72" fmla="*/ 28 w 211"/>
                    <a:gd name="T73" fmla="*/ 750 h 783"/>
                    <a:gd name="T74" fmla="*/ 44 w 211"/>
                    <a:gd name="T75" fmla="*/ 762 h 783"/>
                    <a:gd name="T76" fmla="*/ 62 w 211"/>
                    <a:gd name="T77" fmla="*/ 772 h 783"/>
                    <a:gd name="T78" fmla="*/ 81 w 211"/>
                    <a:gd name="T79" fmla="*/ 778 h 783"/>
                    <a:gd name="T80" fmla="*/ 100 w 211"/>
                    <a:gd name="T81" fmla="*/ 783 h 783"/>
                    <a:gd name="T82" fmla="*/ 119 w 211"/>
                    <a:gd name="T83" fmla="*/ 783 h 783"/>
                    <a:gd name="T84" fmla="*/ 137 w 211"/>
                    <a:gd name="T85" fmla="*/ 778 h 783"/>
                    <a:gd name="T86" fmla="*/ 155 w 211"/>
                    <a:gd name="T87" fmla="*/ 772 h 783"/>
                    <a:gd name="T88" fmla="*/ 171 w 211"/>
                    <a:gd name="T89" fmla="*/ 762 h 783"/>
                    <a:gd name="T90" fmla="*/ 185 w 211"/>
                    <a:gd name="T91" fmla="*/ 750 h 783"/>
                    <a:gd name="T92" fmla="*/ 197 w 211"/>
                    <a:gd name="T93" fmla="*/ 736 h 783"/>
                    <a:gd name="T94" fmla="*/ 207 w 211"/>
                    <a:gd name="T95" fmla="*/ 720 h 783"/>
                    <a:gd name="T96" fmla="*/ 211 w 211"/>
                    <a:gd name="T97" fmla="*/ 702 h 783"/>
                    <a:gd name="T98" fmla="*/ 211 w 211"/>
                    <a:gd name="T99" fmla="*/ 194 h 783"/>
                    <a:gd name="T100" fmla="*/ 210 w 211"/>
                    <a:gd name="T101" fmla="*/ 188 h 783"/>
                    <a:gd name="T102" fmla="*/ 210 w 211"/>
                    <a:gd name="T103" fmla="*/ 188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1" h="783">
                      <a:moveTo>
                        <a:pt x="110" y="752"/>
                      </a:moveTo>
                      <a:lnTo>
                        <a:pt x="104" y="752"/>
                      </a:lnTo>
                      <a:lnTo>
                        <a:pt x="96" y="751"/>
                      </a:lnTo>
                      <a:lnTo>
                        <a:pt x="90" y="749"/>
                      </a:lnTo>
                      <a:lnTo>
                        <a:pt x="83" y="747"/>
                      </a:lnTo>
                      <a:lnTo>
                        <a:pt x="69" y="742"/>
                      </a:lnTo>
                      <a:lnTo>
                        <a:pt x="57" y="734"/>
                      </a:lnTo>
                      <a:lnTo>
                        <a:pt x="52" y="730"/>
                      </a:lnTo>
                      <a:lnTo>
                        <a:pt x="47" y="726"/>
                      </a:lnTo>
                      <a:lnTo>
                        <a:pt x="42" y="720"/>
                      </a:lnTo>
                      <a:lnTo>
                        <a:pt x="38" y="715"/>
                      </a:lnTo>
                      <a:lnTo>
                        <a:pt x="35" y="709"/>
                      </a:lnTo>
                      <a:lnTo>
                        <a:pt x="33" y="704"/>
                      </a:lnTo>
                      <a:lnTo>
                        <a:pt x="32" y="698"/>
                      </a:lnTo>
                      <a:lnTo>
                        <a:pt x="30" y="692"/>
                      </a:lnTo>
                      <a:lnTo>
                        <a:pt x="30" y="662"/>
                      </a:lnTo>
                      <a:lnTo>
                        <a:pt x="181" y="662"/>
                      </a:lnTo>
                      <a:lnTo>
                        <a:pt x="181" y="692"/>
                      </a:lnTo>
                      <a:lnTo>
                        <a:pt x="181" y="699"/>
                      </a:lnTo>
                      <a:lnTo>
                        <a:pt x="180" y="704"/>
                      </a:lnTo>
                      <a:lnTo>
                        <a:pt x="178" y="711"/>
                      </a:lnTo>
                      <a:lnTo>
                        <a:pt x="175" y="716"/>
                      </a:lnTo>
                      <a:lnTo>
                        <a:pt x="171" y="721"/>
                      </a:lnTo>
                      <a:lnTo>
                        <a:pt x="167" y="726"/>
                      </a:lnTo>
                      <a:lnTo>
                        <a:pt x="163" y="731"/>
                      </a:lnTo>
                      <a:lnTo>
                        <a:pt x="158" y="735"/>
                      </a:lnTo>
                      <a:lnTo>
                        <a:pt x="147" y="743"/>
                      </a:lnTo>
                      <a:lnTo>
                        <a:pt x="135" y="748"/>
                      </a:lnTo>
                      <a:lnTo>
                        <a:pt x="128" y="750"/>
                      </a:lnTo>
                      <a:lnTo>
                        <a:pt x="123" y="751"/>
                      </a:lnTo>
                      <a:lnTo>
                        <a:pt x="117" y="752"/>
                      </a:lnTo>
                      <a:lnTo>
                        <a:pt x="110" y="752"/>
                      </a:lnTo>
                      <a:close/>
                      <a:moveTo>
                        <a:pt x="106" y="47"/>
                      </a:moveTo>
                      <a:lnTo>
                        <a:pt x="172" y="179"/>
                      </a:lnTo>
                      <a:lnTo>
                        <a:pt x="40" y="179"/>
                      </a:lnTo>
                      <a:lnTo>
                        <a:pt x="106" y="47"/>
                      </a:lnTo>
                      <a:close/>
                      <a:moveTo>
                        <a:pt x="30" y="602"/>
                      </a:moveTo>
                      <a:lnTo>
                        <a:pt x="181" y="602"/>
                      </a:lnTo>
                      <a:lnTo>
                        <a:pt x="181" y="632"/>
                      </a:lnTo>
                      <a:lnTo>
                        <a:pt x="30" y="632"/>
                      </a:lnTo>
                      <a:lnTo>
                        <a:pt x="30" y="602"/>
                      </a:lnTo>
                      <a:close/>
                      <a:moveTo>
                        <a:pt x="181" y="209"/>
                      </a:moveTo>
                      <a:lnTo>
                        <a:pt x="181" y="572"/>
                      </a:lnTo>
                      <a:lnTo>
                        <a:pt x="121" y="572"/>
                      </a:lnTo>
                      <a:lnTo>
                        <a:pt x="121" y="209"/>
                      </a:lnTo>
                      <a:lnTo>
                        <a:pt x="181" y="209"/>
                      </a:lnTo>
                      <a:close/>
                      <a:moveTo>
                        <a:pt x="91" y="209"/>
                      </a:moveTo>
                      <a:lnTo>
                        <a:pt x="91" y="572"/>
                      </a:lnTo>
                      <a:lnTo>
                        <a:pt x="30" y="572"/>
                      </a:lnTo>
                      <a:lnTo>
                        <a:pt x="30" y="209"/>
                      </a:lnTo>
                      <a:lnTo>
                        <a:pt x="91" y="209"/>
                      </a:lnTo>
                      <a:close/>
                      <a:moveTo>
                        <a:pt x="210" y="188"/>
                      </a:moveTo>
                      <a:lnTo>
                        <a:pt x="120" y="7"/>
                      </a:lnTo>
                      <a:lnTo>
                        <a:pt x="118" y="4"/>
                      </a:lnTo>
                      <a:lnTo>
                        <a:pt x="114" y="1"/>
                      </a:lnTo>
                      <a:lnTo>
                        <a:pt x="110" y="0"/>
                      </a:lnTo>
                      <a:lnTo>
                        <a:pt x="106" y="0"/>
                      </a:lnTo>
                      <a:lnTo>
                        <a:pt x="103" y="0"/>
                      </a:lnTo>
                      <a:lnTo>
                        <a:pt x="98" y="1"/>
                      </a:lnTo>
                      <a:lnTo>
                        <a:pt x="95" y="4"/>
                      </a:lnTo>
                      <a:lnTo>
                        <a:pt x="93" y="7"/>
                      </a:lnTo>
                      <a:lnTo>
                        <a:pt x="3" y="188"/>
                      </a:lnTo>
                      <a:lnTo>
                        <a:pt x="3" y="188"/>
                      </a:lnTo>
                      <a:lnTo>
                        <a:pt x="3" y="188"/>
                      </a:lnTo>
                      <a:lnTo>
                        <a:pt x="1" y="191"/>
                      </a:lnTo>
                      <a:lnTo>
                        <a:pt x="0" y="194"/>
                      </a:lnTo>
                      <a:lnTo>
                        <a:pt x="0" y="692"/>
                      </a:lnTo>
                      <a:lnTo>
                        <a:pt x="1" y="702"/>
                      </a:lnTo>
                      <a:lnTo>
                        <a:pt x="4" y="711"/>
                      </a:lnTo>
                      <a:lnTo>
                        <a:pt x="7" y="719"/>
                      </a:lnTo>
                      <a:lnTo>
                        <a:pt x="10" y="728"/>
                      </a:lnTo>
                      <a:lnTo>
                        <a:pt x="15" y="735"/>
                      </a:lnTo>
                      <a:lnTo>
                        <a:pt x="22" y="743"/>
                      </a:lnTo>
                      <a:lnTo>
                        <a:pt x="28" y="750"/>
                      </a:lnTo>
                      <a:lnTo>
                        <a:pt x="36" y="757"/>
                      </a:lnTo>
                      <a:lnTo>
                        <a:pt x="44" y="762"/>
                      </a:lnTo>
                      <a:lnTo>
                        <a:pt x="53" y="768"/>
                      </a:lnTo>
                      <a:lnTo>
                        <a:pt x="62" y="772"/>
                      </a:lnTo>
                      <a:lnTo>
                        <a:pt x="71" y="776"/>
                      </a:lnTo>
                      <a:lnTo>
                        <a:pt x="81" y="778"/>
                      </a:lnTo>
                      <a:lnTo>
                        <a:pt x="91" y="780"/>
                      </a:lnTo>
                      <a:lnTo>
                        <a:pt x="100" y="783"/>
                      </a:lnTo>
                      <a:lnTo>
                        <a:pt x="110" y="783"/>
                      </a:lnTo>
                      <a:lnTo>
                        <a:pt x="119" y="783"/>
                      </a:lnTo>
                      <a:lnTo>
                        <a:pt x="128" y="780"/>
                      </a:lnTo>
                      <a:lnTo>
                        <a:pt x="137" y="778"/>
                      </a:lnTo>
                      <a:lnTo>
                        <a:pt x="147" y="776"/>
                      </a:lnTo>
                      <a:lnTo>
                        <a:pt x="155" y="772"/>
                      </a:lnTo>
                      <a:lnTo>
                        <a:pt x="163" y="768"/>
                      </a:lnTo>
                      <a:lnTo>
                        <a:pt x="171" y="762"/>
                      </a:lnTo>
                      <a:lnTo>
                        <a:pt x="179" y="757"/>
                      </a:lnTo>
                      <a:lnTo>
                        <a:pt x="185" y="750"/>
                      </a:lnTo>
                      <a:lnTo>
                        <a:pt x="192" y="744"/>
                      </a:lnTo>
                      <a:lnTo>
                        <a:pt x="197" y="736"/>
                      </a:lnTo>
                      <a:lnTo>
                        <a:pt x="203" y="728"/>
                      </a:lnTo>
                      <a:lnTo>
                        <a:pt x="207" y="720"/>
                      </a:lnTo>
                      <a:lnTo>
                        <a:pt x="209" y="711"/>
                      </a:lnTo>
                      <a:lnTo>
                        <a:pt x="211" y="702"/>
                      </a:lnTo>
                      <a:lnTo>
                        <a:pt x="211" y="692"/>
                      </a:lnTo>
                      <a:lnTo>
                        <a:pt x="211" y="194"/>
                      </a:lnTo>
                      <a:lnTo>
                        <a:pt x="211" y="191"/>
                      </a:lnTo>
                      <a:lnTo>
                        <a:pt x="210" y="188"/>
                      </a:lnTo>
                      <a:lnTo>
                        <a:pt x="210" y="188"/>
                      </a:lnTo>
                      <a:lnTo>
                        <a:pt x="210" y="1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74" name="Freeform 86">
                  <a:extLst>
                    <a:ext uri="{FF2B5EF4-FFF2-40B4-BE49-F238E27FC236}">
                      <a16:creationId xmlns:a16="http://schemas.microsoft.com/office/drawing/2014/main" id="{C44B4342-DE94-48E6-AA4C-57AF0BAF8BD2}"/>
                    </a:ext>
                  </a:extLst>
                </p:cNvPr>
                <p:cNvSpPr>
                  <a:spLocks noEditPoints="1"/>
                </p:cNvSpPr>
                <p:nvPr/>
              </p:nvSpPr>
              <p:spPr bwMode="auto">
                <a:xfrm>
                  <a:off x="1593850" y="1925638"/>
                  <a:ext cx="85725" cy="287338"/>
                </a:xfrm>
                <a:custGeom>
                  <a:avLst/>
                  <a:gdLst>
                    <a:gd name="T0" fmla="*/ 32 w 273"/>
                    <a:gd name="T1" fmla="*/ 754 h 905"/>
                    <a:gd name="T2" fmla="*/ 112 w 273"/>
                    <a:gd name="T3" fmla="*/ 753 h 905"/>
                    <a:gd name="T4" fmla="*/ 119 w 273"/>
                    <a:gd name="T5" fmla="*/ 748 h 905"/>
                    <a:gd name="T6" fmla="*/ 122 w 273"/>
                    <a:gd name="T7" fmla="*/ 739 h 905"/>
                    <a:gd name="T8" fmla="*/ 119 w 273"/>
                    <a:gd name="T9" fmla="*/ 730 h 905"/>
                    <a:gd name="T10" fmla="*/ 112 w 273"/>
                    <a:gd name="T11" fmla="*/ 725 h 905"/>
                    <a:gd name="T12" fmla="*/ 32 w 273"/>
                    <a:gd name="T13" fmla="*/ 724 h 905"/>
                    <a:gd name="T14" fmla="*/ 109 w 273"/>
                    <a:gd name="T15" fmla="*/ 602 h 905"/>
                    <a:gd name="T16" fmla="*/ 118 w 273"/>
                    <a:gd name="T17" fmla="*/ 599 h 905"/>
                    <a:gd name="T18" fmla="*/ 121 w 273"/>
                    <a:gd name="T19" fmla="*/ 591 h 905"/>
                    <a:gd name="T20" fmla="*/ 121 w 273"/>
                    <a:gd name="T21" fmla="*/ 582 h 905"/>
                    <a:gd name="T22" fmla="*/ 114 w 273"/>
                    <a:gd name="T23" fmla="*/ 576 h 905"/>
                    <a:gd name="T24" fmla="*/ 107 w 273"/>
                    <a:gd name="T25" fmla="*/ 573 h 905"/>
                    <a:gd name="T26" fmla="*/ 107 w 273"/>
                    <a:gd name="T27" fmla="*/ 452 h 905"/>
                    <a:gd name="T28" fmla="*/ 114 w 273"/>
                    <a:gd name="T29" fmla="*/ 450 h 905"/>
                    <a:gd name="T30" fmla="*/ 121 w 273"/>
                    <a:gd name="T31" fmla="*/ 443 h 905"/>
                    <a:gd name="T32" fmla="*/ 121 w 273"/>
                    <a:gd name="T33" fmla="*/ 435 h 905"/>
                    <a:gd name="T34" fmla="*/ 118 w 273"/>
                    <a:gd name="T35" fmla="*/ 427 h 905"/>
                    <a:gd name="T36" fmla="*/ 109 w 273"/>
                    <a:gd name="T37" fmla="*/ 423 h 905"/>
                    <a:gd name="T38" fmla="*/ 32 w 273"/>
                    <a:gd name="T39" fmla="*/ 301 h 905"/>
                    <a:gd name="T40" fmla="*/ 112 w 273"/>
                    <a:gd name="T41" fmla="*/ 300 h 905"/>
                    <a:gd name="T42" fmla="*/ 119 w 273"/>
                    <a:gd name="T43" fmla="*/ 295 h 905"/>
                    <a:gd name="T44" fmla="*/ 122 w 273"/>
                    <a:gd name="T45" fmla="*/ 286 h 905"/>
                    <a:gd name="T46" fmla="*/ 119 w 273"/>
                    <a:gd name="T47" fmla="*/ 278 h 905"/>
                    <a:gd name="T48" fmla="*/ 112 w 273"/>
                    <a:gd name="T49" fmla="*/ 272 h 905"/>
                    <a:gd name="T50" fmla="*/ 32 w 273"/>
                    <a:gd name="T51" fmla="*/ 271 h 905"/>
                    <a:gd name="T52" fmla="*/ 109 w 273"/>
                    <a:gd name="T53" fmla="*/ 151 h 905"/>
                    <a:gd name="T54" fmla="*/ 118 w 273"/>
                    <a:gd name="T55" fmla="*/ 147 h 905"/>
                    <a:gd name="T56" fmla="*/ 121 w 273"/>
                    <a:gd name="T57" fmla="*/ 139 h 905"/>
                    <a:gd name="T58" fmla="*/ 121 w 273"/>
                    <a:gd name="T59" fmla="*/ 130 h 905"/>
                    <a:gd name="T60" fmla="*/ 114 w 273"/>
                    <a:gd name="T61" fmla="*/ 123 h 905"/>
                    <a:gd name="T62" fmla="*/ 107 w 273"/>
                    <a:gd name="T63" fmla="*/ 121 h 905"/>
                    <a:gd name="T64" fmla="*/ 242 w 273"/>
                    <a:gd name="T65" fmla="*/ 30 h 905"/>
                    <a:gd name="T66" fmla="*/ 17 w 273"/>
                    <a:gd name="T67" fmla="*/ 0 h 905"/>
                    <a:gd name="T68" fmla="*/ 8 w 273"/>
                    <a:gd name="T69" fmla="*/ 2 h 905"/>
                    <a:gd name="T70" fmla="*/ 3 w 273"/>
                    <a:gd name="T71" fmla="*/ 9 h 905"/>
                    <a:gd name="T72" fmla="*/ 1 w 273"/>
                    <a:gd name="T73" fmla="*/ 890 h 905"/>
                    <a:gd name="T74" fmla="*/ 4 w 273"/>
                    <a:gd name="T75" fmla="*/ 898 h 905"/>
                    <a:gd name="T76" fmla="*/ 10 w 273"/>
                    <a:gd name="T77" fmla="*/ 904 h 905"/>
                    <a:gd name="T78" fmla="*/ 257 w 273"/>
                    <a:gd name="T79" fmla="*/ 905 h 905"/>
                    <a:gd name="T80" fmla="*/ 266 w 273"/>
                    <a:gd name="T81" fmla="*/ 902 h 905"/>
                    <a:gd name="T82" fmla="*/ 271 w 273"/>
                    <a:gd name="T83" fmla="*/ 895 h 905"/>
                    <a:gd name="T84" fmla="*/ 273 w 273"/>
                    <a:gd name="T85" fmla="*/ 15 h 905"/>
                    <a:gd name="T86" fmla="*/ 269 w 273"/>
                    <a:gd name="T87" fmla="*/ 7 h 905"/>
                    <a:gd name="T88" fmla="*/ 263 w 273"/>
                    <a:gd name="T89" fmla="*/ 1 h 905"/>
                    <a:gd name="T90" fmla="*/ 257 w 273"/>
                    <a:gd name="T91" fmla="*/ 0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3" h="905">
                      <a:moveTo>
                        <a:pt x="242" y="874"/>
                      </a:moveTo>
                      <a:lnTo>
                        <a:pt x="32" y="874"/>
                      </a:lnTo>
                      <a:lnTo>
                        <a:pt x="32" y="754"/>
                      </a:lnTo>
                      <a:lnTo>
                        <a:pt x="107" y="754"/>
                      </a:lnTo>
                      <a:lnTo>
                        <a:pt x="109" y="754"/>
                      </a:lnTo>
                      <a:lnTo>
                        <a:pt x="112" y="753"/>
                      </a:lnTo>
                      <a:lnTo>
                        <a:pt x="114" y="751"/>
                      </a:lnTo>
                      <a:lnTo>
                        <a:pt x="118" y="750"/>
                      </a:lnTo>
                      <a:lnTo>
                        <a:pt x="119" y="748"/>
                      </a:lnTo>
                      <a:lnTo>
                        <a:pt x="121" y="744"/>
                      </a:lnTo>
                      <a:lnTo>
                        <a:pt x="121" y="742"/>
                      </a:lnTo>
                      <a:lnTo>
                        <a:pt x="122" y="739"/>
                      </a:lnTo>
                      <a:lnTo>
                        <a:pt x="121" y="736"/>
                      </a:lnTo>
                      <a:lnTo>
                        <a:pt x="121" y="733"/>
                      </a:lnTo>
                      <a:lnTo>
                        <a:pt x="119" y="730"/>
                      </a:lnTo>
                      <a:lnTo>
                        <a:pt x="118" y="728"/>
                      </a:lnTo>
                      <a:lnTo>
                        <a:pt x="114" y="726"/>
                      </a:lnTo>
                      <a:lnTo>
                        <a:pt x="112" y="725"/>
                      </a:lnTo>
                      <a:lnTo>
                        <a:pt x="109" y="724"/>
                      </a:lnTo>
                      <a:lnTo>
                        <a:pt x="107" y="724"/>
                      </a:lnTo>
                      <a:lnTo>
                        <a:pt x="32" y="724"/>
                      </a:lnTo>
                      <a:lnTo>
                        <a:pt x="32" y="604"/>
                      </a:lnTo>
                      <a:lnTo>
                        <a:pt x="107" y="604"/>
                      </a:lnTo>
                      <a:lnTo>
                        <a:pt x="109" y="602"/>
                      </a:lnTo>
                      <a:lnTo>
                        <a:pt x="112" y="602"/>
                      </a:lnTo>
                      <a:lnTo>
                        <a:pt x="114" y="600"/>
                      </a:lnTo>
                      <a:lnTo>
                        <a:pt x="118" y="599"/>
                      </a:lnTo>
                      <a:lnTo>
                        <a:pt x="119" y="596"/>
                      </a:lnTo>
                      <a:lnTo>
                        <a:pt x="121" y="594"/>
                      </a:lnTo>
                      <a:lnTo>
                        <a:pt x="121" y="591"/>
                      </a:lnTo>
                      <a:lnTo>
                        <a:pt x="122" y="588"/>
                      </a:lnTo>
                      <a:lnTo>
                        <a:pt x="121" y="585"/>
                      </a:lnTo>
                      <a:lnTo>
                        <a:pt x="121" y="582"/>
                      </a:lnTo>
                      <a:lnTo>
                        <a:pt x="119" y="580"/>
                      </a:lnTo>
                      <a:lnTo>
                        <a:pt x="118" y="578"/>
                      </a:lnTo>
                      <a:lnTo>
                        <a:pt x="114" y="576"/>
                      </a:lnTo>
                      <a:lnTo>
                        <a:pt x="112" y="574"/>
                      </a:lnTo>
                      <a:lnTo>
                        <a:pt x="109" y="573"/>
                      </a:lnTo>
                      <a:lnTo>
                        <a:pt x="107" y="573"/>
                      </a:lnTo>
                      <a:lnTo>
                        <a:pt x="32" y="573"/>
                      </a:lnTo>
                      <a:lnTo>
                        <a:pt x="32" y="452"/>
                      </a:lnTo>
                      <a:lnTo>
                        <a:pt x="107" y="452"/>
                      </a:lnTo>
                      <a:lnTo>
                        <a:pt x="109" y="452"/>
                      </a:lnTo>
                      <a:lnTo>
                        <a:pt x="112" y="451"/>
                      </a:lnTo>
                      <a:lnTo>
                        <a:pt x="114" y="450"/>
                      </a:lnTo>
                      <a:lnTo>
                        <a:pt x="118" y="448"/>
                      </a:lnTo>
                      <a:lnTo>
                        <a:pt x="119" y="445"/>
                      </a:lnTo>
                      <a:lnTo>
                        <a:pt x="121" y="443"/>
                      </a:lnTo>
                      <a:lnTo>
                        <a:pt x="121" y="440"/>
                      </a:lnTo>
                      <a:lnTo>
                        <a:pt x="122" y="437"/>
                      </a:lnTo>
                      <a:lnTo>
                        <a:pt x="121" y="435"/>
                      </a:lnTo>
                      <a:lnTo>
                        <a:pt x="121" y="431"/>
                      </a:lnTo>
                      <a:lnTo>
                        <a:pt x="119" y="429"/>
                      </a:lnTo>
                      <a:lnTo>
                        <a:pt x="118" y="427"/>
                      </a:lnTo>
                      <a:lnTo>
                        <a:pt x="114" y="425"/>
                      </a:lnTo>
                      <a:lnTo>
                        <a:pt x="112" y="424"/>
                      </a:lnTo>
                      <a:lnTo>
                        <a:pt x="109" y="423"/>
                      </a:lnTo>
                      <a:lnTo>
                        <a:pt x="107" y="422"/>
                      </a:lnTo>
                      <a:lnTo>
                        <a:pt x="32" y="422"/>
                      </a:lnTo>
                      <a:lnTo>
                        <a:pt x="32" y="301"/>
                      </a:lnTo>
                      <a:lnTo>
                        <a:pt x="107" y="301"/>
                      </a:lnTo>
                      <a:lnTo>
                        <a:pt x="109" y="301"/>
                      </a:lnTo>
                      <a:lnTo>
                        <a:pt x="112" y="300"/>
                      </a:lnTo>
                      <a:lnTo>
                        <a:pt x="114" y="299"/>
                      </a:lnTo>
                      <a:lnTo>
                        <a:pt x="118" y="297"/>
                      </a:lnTo>
                      <a:lnTo>
                        <a:pt x="119" y="295"/>
                      </a:lnTo>
                      <a:lnTo>
                        <a:pt x="121" y="293"/>
                      </a:lnTo>
                      <a:lnTo>
                        <a:pt x="121" y="290"/>
                      </a:lnTo>
                      <a:lnTo>
                        <a:pt x="122" y="286"/>
                      </a:lnTo>
                      <a:lnTo>
                        <a:pt x="121" y="283"/>
                      </a:lnTo>
                      <a:lnTo>
                        <a:pt x="121" y="281"/>
                      </a:lnTo>
                      <a:lnTo>
                        <a:pt x="119" y="278"/>
                      </a:lnTo>
                      <a:lnTo>
                        <a:pt x="118" y="276"/>
                      </a:lnTo>
                      <a:lnTo>
                        <a:pt x="114" y="274"/>
                      </a:lnTo>
                      <a:lnTo>
                        <a:pt x="112" y="272"/>
                      </a:lnTo>
                      <a:lnTo>
                        <a:pt x="109" y="272"/>
                      </a:lnTo>
                      <a:lnTo>
                        <a:pt x="107" y="271"/>
                      </a:lnTo>
                      <a:lnTo>
                        <a:pt x="32" y="271"/>
                      </a:lnTo>
                      <a:lnTo>
                        <a:pt x="32" y="151"/>
                      </a:lnTo>
                      <a:lnTo>
                        <a:pt x="107" y="151"/>
                      </a:lnTo>
                      <a:lnTo>
                        <a:pt x="109" y="151"/>
                      </a:lnTo>
                      <a:lnTo>
                        <a:pt x="112" y="150"/>
                      </a:lnTo>
                      <a:lnTo>
                        <a:pt x="114" y="149"/>
                      </a:lnTo>
                      <a:lnTo>
                        <a:pt x="118" y="147"/>
                      </a:lnTo>
                      <a:lnTo>
                        <a:pt x="119" y="144"/>
                      </a:lnTo>
                      <a:lnTo>
                        <a:pt x="121" y="141"/>
                      </a:lnTo>
                      <a:lnTo>
                        <a:pt x="121" y="139"/>
                      </a:lnTo>
                      <a:lnTo>
                        <a:pt x="122" y="136"/>
                      </a:lnTo>
                      <a:lnTo>
                        <a:pt x="121" y="133"/>
                      </a:lnTo>
                      <a:lnTo>
                        <a:pt x="121" y="130"/>
                      </a:lnTo>
                      <a:lnTo>
                        <a:pt x="119" y="127"/>
                      </a:lnTo>
                      <a:lnTo>
                        <a:pt x="118" y="125"/>
                      </a:lnTo>
                      <a:lnTo>
                        <a:pt x="114" y="123"/>
                      </a:lnTo>
                      <a:lnTo>
                        <a:pt x="112" y="122"/>
                      </a:lnTo>
                      <a:lnTo>
                        <a:pt x="109" y="121"/>
                      </a:lnTo>
                      <a:lnTo>
                        <a:pt x="107" y="121"/>
                      </a:lnTo>
                      <a:lnTo>
                        <a:pt x="32" y="121"/>
                      </a:lnTo>
                      <a:lnTo>
                        <a:pt x="32" y="30"/>
                      </a:lnTo>
                      <a:lnTo>
                        <a:pt x="242" y="30"/>
                      </a:lnTo>
                      <a:lnTo>
                        <a:pt x="242" y="874"/>
                      </a:lnTo>
                      <a:close/>
                      <a:moveTo>
                        <a:pt x="257" y="0"/>
                      </a:moveTo>
                      <a:lnTo>
                        <a:pt x="17" y="0"/>
                      </a:lnTo>
                      <a:lnTo>
                        <a:pt x="13" y="0"/>
                      </a:lnTo>
                      <a:lnTo>
                        <a:pt x="10" y="1"/>
                      </a:lnTo>
                      <a:lnTo>
                        <a:pt x="8" y="2"/>
                      </a:lnTo>
                      <a:lnTo>
                        <a:pt x="6" y="5"/>
                      </a:lnTo>
                      <a:lnTo>
                        <a:pt x="4" y="7"/>
                      </a:lnTo>
                      <a:lnTo>
                        <a:pt x="3" y="9"/>
                      </a:lnTo>
                      <a:lnTo>
                        <a:pt x="1" y="12"/>
                      </a:lnTo>
                      <a:lnTo>
                        <a:pt x="0" y="15"/>
                      </a:lnTo>
                      <a:lnTo>
                        <a:pt x="1" y="890"/>
                      </a:lnTo>
                      <a:lnTo>
                        <a:pt x="1" y="893"/>
                      </a:lnTo>
                      <a:lnTo>
                        <a:pt x="3" y="895"/>
                      </a:lnTo>
                      <a:lnTo>
                        <a:pt x="4" y="898"/>
                      </a:lnTo>
                      <a:lnTo>
                        <a:pt x="6" y="900"/>
                      </a:lnTo>
                      <a:lnTo>
                        <a:pt x="8" y="902"/>
                      </a:lnTo>
                      <a:lnTo>
                        <a:pt x="10" y="904"/>
                      </a:lnTo>
                      <a:lnTo>
                        <a:pt x="13" y="905"/>
                      </a:lnTo>
                      <a:lnTo>
                        <a:pt x="17" y="905"/>
                      </a:lnTo>
                      <a:lnTo>
                        <a:pt x="257" y="905"/>
                      </a:lnTo>
                      <a:lnTo>
                        <a:pt x="261" y="905"/>
                      </a:lnTo>
                      <a:lnTo>
                        <a:pt x="263" y="904"/>
                      </a:lnTo>
                      <a:lnTo>
                        <a:pt x="266" y="902"/>
                      </a:lnTo>
                      <a:lnTo>
                        <a:pt x="268" y="900"/>
                      </a:lnTo>
                      <a:lnTo>
                        <a:pt x="269" y="898"/>
                      </a:lnTo>
                      <a:lnTo>
                        <a:pt x="271" y="895"/>
                      </a:lnTo>
                      <a:lnTo>
                        <a:pt x="273" y="893"/>
                      </a:lnTo>
                      <a:lnTo>
                        <a:pt x="273" y="890"/>
                      </a:lnTo>
                      <a:lnTo>
                        <a:pt x="273" y="15"/>
                      </a:lnTo>
                      <a:lnTo>
                        <a:pt x="273" y="12"/>
                      </a:lnTo>
                      <a:lnTo>
                        <a:pt x="271" y="9"/>
                      </a:lnTo>
                      <a:lnTo>
                        <a:pt x="269" y="7"/>
                      </a:lnTo>
                      <a:lnTo>
                        <a:pt x="268" y="5"/>
                      </a:lnTo>
                      <a:lnTo>
                        <a:pt x="266" y="2"/>
                      </a:lnTo>
                      <a:lnTo>
                        <a:pt x="263" y="1"/>
                      </a:lnTo>
                      <a:lnTo>
                        <a:pt x="261" y="0"/>
                      </a:lnTo>
                      <a:lnTo>
                        <a:pt x="257" y="0"/>
                      </a:lnTo>
                      <a:lnTo>
                        <a:pt x="25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sp>
            <p:nvSpPr>
              <p:cNvPr id="18" name="TextBox 17">
                <a:extLst>
                  <a:ext uri="{FF2B5EF4-FFF2-40B4-BE49-F238E27FC236}">
                    <a16:creationId xmlns:a16="http://schemas.microsoft.com/office/drawing/2014/main" id="{8421EA31-B93A-4071-BDF7-711C7753D8DF}"/>
                  </a:ext>
                </a:extLst>
              </p:cNvPr>
              <p:cNvSpPr txBox="1"/>
              <p:nvPr/>
            </p:nvSpPr>
            <p:spPr>
              <a:xfrm>
                <a:off x="5006341" y="2668730"/>
                <a:ext cx="6381988" cy="1004123"/>
              </a:xfrm>
              <a:prstGeom prst="rect">
                <a:avLst/>
              </a:prstGeom>
              <a:noFill/>
            </p:spPr>
            <p:txBody>
              <a:bodyPr wrap="square" lIns="0" tIns="0" rIns="0" bIns="0" rtlCol="0" anchor="ctr">
                <a:spAutoFit/>
              </a:bodyPr>
              <a:lstStyle/>
              <a:p>
                <a:pPr marL="274320" marR="0" lvl="0" indent="-274320" algn="l" defTabSz="914400" rtl="0" eaLnBrk="1" fontAlgn="auto" latinLnBrk="0" hangingPunct="1">
                  <a:lnSpc>
                    <a:spcPct val="90000"/>
                  </a:lnSpc>
                  <a:spcBef>
                    <a:spcPts val="0"/>
                  </a:spcBef>
                  <a:spcAft>
                    <a:spcPts val="0"/>
                  </a:spcAft>
                  <a:buClr>
                    <a:srgbClr val="FF6633"/>
                  </a:buClr>
                  <a:buSzTx/>
                  <a:buFont typeface="Arial" panose="020B0604020202020204" pitchFamily="34" charset="0"/>
                  <a:buChar char="•"/>
                  <a:tabLst/>
                  <a:defRPr/>
                </a:pPr>
                <a:r>
                  <a:rPr lang="en-US" sz="1400" dirty="0">
                    <a:solidFill>
                      <a:srgbClr val="68767E"/>
                    </a:solidFill>
                  </a:rPr>
                  <a:t>Provider outreach conducted prior to mailing to confirm Contact Information</a:t>
                </a: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274320" marR="0" lvl="0" indent="-274320" algn="l" defTabSz="914400" rtl="0" eaLnBrk="1" fontAlgn="auto" latinLnBrk="0" hangingPunct="1">
                  <a:lnSpc>
                    <a:spcPct val="90000"/>
                  </a:lnSpc>
                  <a:spcBef>
                    <a:spcPts val="0"/>
                  </a:spcBef>
                  <a:spcAft>
                    <a:spcPts val="0"/>
                  </a:spcAft>
                  <a:buClr>
                    <a:srgbClr val="FF6633"/>
                  </a:buClr>
                  <a:buSzTx/>
                  <a:buFont typeface="Arial" panose="020B0604020202020204" pitchFamily="34" charset="0"/>
                  <a:buChar char="•"/>
                  <a:tabLst/>
                  <a:defRPr/>
                </a:pPr>
                <a:r>
                  <a:rPr lang="en-US" sz="1400" dirty="0">
                    <a:solidFill>
                      <a:srgbClr val="68767E"/>
                    </a:solidFill>
                  </a:rPr>
                  <a:t>Claim or set of claims are selected for review</a:t>
                </a: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Medical record request is sent via Certified Mail to the provider and uploaded is also  sent through the provider portal</a:t>
                </a:r>
              </a:p>
              <a:p>
                <a:pPr marL="274320" marR="0" lvl="0" indent="-274320" algn="l" defTabSz="914400" rtl="0" eaLnBrk="1" fontAlgn="auto" latinLnBrk="0" hangingPunct="1">
                  <a:lnSpc>
                    <a:spcPct val="90000"/>
                  </a:lnSpc>
                  <a:spcBef>
                    <a:spcPts val="0"/>
                  </a:spcBef>
                  <a:spcAft>
                    <a:spcPts val="0"/>
                  </a:spcAft>
                  <a:buClr>
                    <a:srgbClr val="FF6633"/>
                  </a:buClr>
                  <a:buSzTx/>
                  <a:buFont typeface="Arial" panose="020B0604020202020204" pitchFamily="34" charset="0"/>
                  <a:buChar char="•"/>
                  <a:tabLst/>
                  <a:defRPr/>
                </a:pPr>
                <a:r>
                  <a:rPr lang="en-US" sz="1400" dirty="0">
                    <a:solidFill>
                      <a:srgbClr val="68767E"/>
                    </a:solidFill>
                  </a:rPr>
                  <a:t>Providers are given 45 days from letter date to respond</a:t>
                </a: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274320" indent="-274320" eaLnBrk="1" fontAlgn="auto" hangingPunct="1">
                  <a:lnSpc>
                    <a:spcPct val="90000"/>
                  </a:lnSpc>
                  <a:spcBef>
                    <a:spcPts val="0"/>
                  </a:spcBef>
                  <a:spcAft>
                    <a:spcPts val="0"/>
                  </a:spcAft>
                  <a:buClr>
                    <a:srgbClr val="FF6633"/>
                  </a:buClr>
                  <a:buFont typeface="Arial" panose="020B0604020202020204" pitchFamily="34" charset="0"/>
                  <a:buChar char="•"/>
                  <a:defRPr/>
                </a:pPr>
                <a:r>
                  <a:rPr lang="en-US" altLang="en-US" sz="1400" dirty="0"/>
                  <a:t>Providers may request an extension through HMS within 15 calendar days from the date on the notice.</a:t>
                </a: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274320" marR="0" lvl="0" indent="-274320" algn="l" defTabSz="914400" rtl="0" eaLnBrk="1" fontAlgn="auto" latinLnBrk="0" hangingPunct="1">
                  <a:lnSpc>
                    <a:spcPct val="90000"/>
                  </a:lnSpc>
                  <a:spcBef>
                    <a:spcPts val="0"/>
                  </a:spcBef>
                  <a:spcAft>
                    <a:spcPts val="0"/>
                  </a:spcAft>
                  <a:buClr>
                    <a:srgbClr val="FF6633"/>
                  </a:buClr>
                  <a:buSzTx/>
                  <a:buFont typeface="Arial" panose="020B0604020202020204" pitchFamily="34" charset="0"/>
                  <a:buChar char="•"/>
                  <a:tabLst/>
                  <a:defRPr/>
                </a:pPr>
                <a:r>
                  <a:rPr lang="en-US" sz="1400" dirty="0">
                    <a:solidFill>
                      <a:srgbClr val="68767E"/>
                    </a:solidFill>
                  </a:rPr>
                  <a:t>Medical records are received by HMS from the provider</a:t>
                </a:r>
              </a:p>
            </p:txBody>
          </p:sp>
          <p:sp>
            <p:nvSpPr>
              <p:cNvPr id="20" name="Rectangle: Top Corners Rounded 19">
                <a:extLst>
                  <a:ext uri="{FF2B5EF4-FFF2-40B4-BE49-F238E27FC236}">
                    <a16:creationId xmlns:a16="http://schemas.microsoft.com/office/drawing/2014/main" id="{2320C548-0FDA-4228-A1CB-7FC2BC40FC2B}"/>
                  </a:ext>
                </a:extLst>
              </p:cNvPr>
              <p:cNvSpPr/>
              <p:nvPr/>
            </p:nvSpPr>
            <p:spPr>
              <a:xfrm rot="5400000">
                <a:off x="2556695" y="1112330"/>
                <a:ext cx="731150" cy="4168141"/>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6A89E0D7-8F55-4BA0-ADE1-314EEB3CD8BD}"/>
                  </a:ext>
                </a:extLst>
              </p:cNvPr>
              <p:cNvSpPr txBox="1"/>
              <p:nvPr/>
            </p:nvSpPr>
            <p:spPr>
              <a:xfrm>
                <a:off x="1126781" y="3111165"/>
                <a:ext cx="1984522" cy="246221"/>
              </a:xfrm>
              <a:prstGeom prst="rect">
                <a:avLst/>
              </a:prstGeom>
              <a:noFill/>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mn-ea"/>
                    <a:cs typeface="+mn-cs"/>
                  </a:rPr>
                  <a:t>Record Request </a:t>
                </a:r>
              </a:p>
            </p:txBody>
          </p:sp>
          <p:sp>
            <p:nvSpPr>
              <p:cNvPr id="22" name="Rectangle: Rounded Corners 21">
                <a:extLst>
                  <a:ext uri="{FF2B5EF4-FFF2-40B4-BE49-F238E27FC236}">
                    <a16:creationId xmlns:a16="http://schemas.microsoft.com/office/drawing/2014/main" id="{E8FE365F-397C-49C1-8D18-E50E176BF1B2}"/>
                  </a:ext>
                </a:extLst>
              </p:cNvPr>
              <p:cNvSpPr/>
              <p:nvPr/>
            </p:nvSpPr>
            <p:spPr>
              <a:xfrm>
                <a:off x="4350888" y="2913049"/>
                <a:ext cx="568776" cy="56670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DC09317E-DA75-40A0-AD88-CD7BC309F3E2}"/>
                  </a:ext>
                </a:extLst>
              </p:cNvPr>
              <p:cNvSpPr txBox="1"/>
              <p:nvPr/>
            </p:nvSpPr>
            <p:spPr>
              <a:xfrm>
                <a:off x="5044661" y="3840825"/>
                <a:ext cx="6239044" cy="467776"/>
              </a:xfrm>
              <a:prstGeom prst="rect">
                <a:avLst/>
              </a:prstGeom>
              <a:noFill/>
            </p:spPr>
            <p:txBody>
              <a:bodyPr wrap="square" lIns="0" tIns="0" rIns="0" bIns="0" rtlCol="0" anchor="ctr">
                <a:spAutoFit/>
              </a:bodyPr>
              <a:lstStyle/>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Registered Nurses and clinical auditors review the medical records</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Physician referral and review is completed for the Audit findings</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lang="en-US" sz="1400" dirty="0">
                    <a:solidFill>
                      <a:srgbClr val="68767E"/>
                    </a:solidFill>
                  </a:rPr>
                  <a:t>Findings are shared with the Department</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lang="en-US" sz="1400" dirty="0">
                    <a:solidFill>
                      <a:srgbClr val="68767E"/>
                    </a:solidFill>
                  </a:rPr>
                  <a:t>Exit conference held as requested by provider</a:t>
                </a:r>
              </a:p>
            </p:txBody>
          </p:sp>
          <p:sp>
            <p:nvSpPr>
              <p:cNvPr id="26" name="Rectangle: Top Corners Rounded 25">
                <a:extLst>
                  <a:ext uri="{FF2B5EF4-FFF2-40B4-BE49-F238E27FC236}">
                    <a16:creationId xmlns:a16="http://schemas.microsoft.com/office/drawing/2014/main" id="{9500CBF5-E42B-48A7-B603-E12DACC11C7F}"/>
                  </a:ext>
                </a:extLst>
              </p:cNvPr>
              <p:cNvSpPr/>
              <p:nvPr/>
            </p:nvSpPr>
            <p:spPr>
              <a:xfrm rot="5400000">
                <a:off x="2556695" y="1990640"/>
                <a:ext cx="731150" cy="4168141"/>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289265DF-27C2-423E-8C69-48BFD8BC474F}"/>
                  </a:ext>
                </a:extLst>
              </p:cNvPr>
              <p:cNvSpPr txBox="1"/>
              <p:nvPr/>
            </p:nvSpPr>
            <p:spPr>
              <a:xfrm>
                <a:off x="1126780" y="3978650"/>
                <a:ext cx="2210135" cy="246221"/>
              </a:xfrm>
              <a:prstGeom prst="rect">
                <a:avLst/>
              </a:prstGeom>
              <a:noFill/>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mn-ea"/>
                    <a:cs typeface="+mn-cs"/>
                  </a:rPr>
                  <a:t>Review and Audits</a:t>
                </a:r>
              </a:p>
            </p:txBody>
          </p:sp>
          <p:sp>
            <p:nvSpPr>
              <p:cNvPr id="28" name="Rectangle: Rounded Corners 27">
                <a:extLst>
                  <a:ext uri="{FF2B5EF4-FFF2-40B4-BE49-F238E27FC236}">
                    <a16:creationId xmlns:a16="http://schemas.microsoft.com/office/drawing/2014/main" id="{293A025F-9ED7-4247-A44F-937C08C2FEED}"/>
                  </a:ext>
                </a:extLst>
              </p:cNvPr>
              <p:cNvSpPr/>
              <p:nvPr/>
            </p:nvSpPr>
            <p:spPr>
              <a:xfrm>
                <a:off x="4350888" y="3791357"/>
                <a:ext cx="568776" cy="56670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89" name="Group 88">
                <a:extLst>
                  <a:ext uri="{FF2B5EF4-FFF2-40B4-BE49-F238E27FC236}">
                    <a16:creationId xmlns:a16="http://schemas.microsoft.com/office/drawing/2014/main" id="{8D7B2F1F-9B6F-4688-A5B8-CA47E68AE415}"/>
                  </a:ext>
                </a:extLst>
              </p:cNvPr>
              <p:cNvGrpSpPr/>
              <p:nvPr/>
            </p:nvGrpSpPr>
            <p:grpSpPr>
              <a:xfrm>
                <a:off x="4496148" y="3935581"/>
                <a:ext cx="278258" cy="278258"/>
                <a:chOff x="885825" y="1925638"/>
                <a:chExt cx="287338" cy="287338"/>
              </a:xfrm>
              <a:solidFill>
                <a:schemeClr val="bg1"/>
              </a:solidFill>
            </p:grpSpPr>
            <p:sp>
              <p:nvSpPr>
                <p:cNvPr id="90" name="Freeform 50">
                  <a:extLst>
                    <a:ext uri="{FF2B5EF4-FFF2-40B4-BE49-F238E27FC236}">
                      <a16:creationId xmlns:a16="http://schemas.microsoft.com/office/drawing/2014/main" id="{4722F7E4-ED82-43BA-AAC2-48DBE58AB94D}"/>
                    </a:ext>
                  </a:extLst>
                </p:cNvPr>
                <p:cNvSpPr>
                  <a:spLocks noEditPoints="1"/>
                </p:cNvSpPr>
                <p:nvPr/>
              </p:nvSpPr>
              <p:spPr bwMode="auto">
                <a:xfrm>
                  <a:off x="885825" y="1925638"/>
                  <a:ext cx="228600" cy="287338"/>
                </a:xfrm>
                <a:custGeom>
                  <a:avLst/>
                  <a:gdLst>
                    <a:gd name="T0" fmla="*/ 230 w 722"/>
                    <a:gd name="T1" fmla="*/ 221 h 905"/>
                    <a:gd name="T2" fmla="*/ 252 w 722"/>
                    <a:gd name="T3" fmla="*/ 167 h 905"/>
                    <a:gd name="T4" fmla="*/ 252 w 722"/>
                    <a:gd name="T5" fmla="*/ 105 h 905"/>
                    <a:gd name="T6" fmla="*/ 227 w 722"/>
                    <a:gd name="T7" fmla="*/ 52 h 905"/>
                    <a:gd name="T8" fmla="*/ 598 w 722"/>
                    <a:gd name="T9" fmla="*/ 30 h 905"/>
                    <a:gd name="T10" fmla="*/ 635 w 722"/>
                    <a:gd name="T11" fmla="*/ 43 h 905"/>
                    <a:gd name="T12" fmla="*/ 668 w 722"/>
                    <a:gd name="T13" fmla="*/ 70 h 905"/>
                    <a:gd name="T14" fmla="*/ 688 w 722"/>
                    <a:gd name="T15" fmla="*/ 106 h 905"/>
                    <a:gd name="T16" fmla="*/ 692 w 722"/>
                    <a:gd name="T17" fmla="*/ 145 h 905"/>
                    <a:gd name="T18" fmla="*/ 679 w 722"/>
                    <a:gd name="T19" fmla="*/ 184 h 905"/>
                    <a:gd name="T20" fmla="*/ 652 w 722"/>
                    <a:gd name="T21" fmla="*/ 216 h 905"/>
                    <a:gd name="T22" fmla="*/ 617 w 722"/>
                    <a:gd name="T23" fmla="*/ 236 h 905"/>
                    <a:gd name="T24" fmla="*/ 587 w 722"/>
                    <a:gd name="T25" fmla="*/ 241 h 905"/>
                    <a:gd name="T26" fmla="*/ 572 w 722"/>
                    <a:gd name="T27" fmla="*/ 271 h 905"/>
                    <a:gd name="T28" fmla="*/ 217 w 722"/>
                    <a:gd name="T29" fmla="*/ 181 h 905"/>
                    <a:gd name="T30" fmla="*/ 191 w 722"/>
                    <a:gd name="T31" fmla="*/ 220 h 905"/>
                    <a:gd name="T32" fmla="*/ 150 w 722"/>
                    <a:gd name="T33" fmla="*/ 240 h 905"/>
                    <a:gd name="T34" fmla="*/ 30 w 722"/>
                    <a:gd name="T35" fmla="*/ 125 h 905"/>
                    <a:gd name="T36" fmla="*/ 42 w 722"/>
                    <a:gd name="T37" fmla="*/ 86 h 905"/>
                    <a:gd name="T38" fmla="*/ 66 w 722"/>
                    <a:gd name="T39" fmla="*/ 55 h 905"/>
                    <a:gd name="T40" fmla="*/ 100 w 722"/>
                    <a:gd name="T41" fmla="*/ 35 h 905"/>
                    <a:gd name="T42" fmla="*/ 138 w 722"/>
                    <a:gd name="T43" fmla="*/ 30 h 905"/>
                    <a:gd name="T44" fmla="*/ 174 w 722"/>
                    <a:gd name="T45" fmla="*/ 43 h 905"/>
                    <a:gd name="T46" fmla="*/ 203 w 722"/>
                    <a:gd name="T47" fmla="*/ 69 h 905"/>
                    <a:gd name="T48" fmla="*/ 221 w 722"/>
                    <a:gd name="T49" fmla="*/ 105 h 905"/>
                    <a:gd name="T50" fmla="*/ 225 w 722"/>
                    <a:gd name="T51" fmla="*/ 143 h 905"/>
                    <a:gd name="T52" fmla="*/ 129 w 722"/>
                    <a:gd name="T53" fmla="*/ 152 h 905"/>
                    <a:gd name="T54" fmla="*/ 121 w 722"/>
                    <a:gd name="T55" fmla="*/ 160 h 905"/>
                    <a:gd name="T56" fmla="*/ 120 w 722"/>
                    <a:gd name="T57" fmla="*/ 604 h 905"/>
                    <a:gd name="T58" fmla="*/ 720 w 722"/>
                    <a:gd name="T59" fmla="*/ 110 h 905"/>
                    <a:gd name="T60" fmla="*/ 699 w 722"/>
                    <a:gd name="T61" fmla="*/ 62 h 905"/>
                    <a:gd name="T62" fmla="*/ 661 w 722"/>
                    <a:gd name="T63" fmla="*/ 24 h 905"/>
                    <a:gd name="T64" fmla="*/ 614 w 722"/>
                    <a:gd name="T65" fmla="*/ 3 h 905"/>
                    <a:gd name="T66" fmla="*/ 134 w 722"/>
                    <a:gd name="T67" fmla="*/ 0 h 905"/>
                    <a:gd name="T68" fmla="*/ 116 w 722"/>
                    <a:gd name="T69" fmla="*/ 1 h 905"/>
                    <a:gd name="T70" fmla="*/ 67 w 722"/>
                    <a:gd name="T71" fmla="*/ 16 h 905"/>
                    <a:gd name="T72" fmla="*/ 29 w 722"/>
                    <a:gd name="T73" fmla="*/ 50 h 905"/>
                    <a:gd name="T74" fmla="*/ 5 w 722"/>
                    <a:gd name="T75" fmla="*/ 96 h 905"/>
                    <a:gd name="T76" fmla="*/ 0 w 722"/>
                    <a:gd name="T77" fmla="*/ 619 h 905"/>
                    <a:gd name="T78" fmla="*/ 4 w 722"/>
                    <a:gd name="T79" fmla="*/ 629 h 905"/>
                    <a:gd name="T80" fmla="*/ 15 w 722"/>
                    <a:gd name="T81" fmla="*/ 634 h 905"/>
                    <a:gd name="T82" fmla="*/ 121 w 722"/>
                    <a:gd name="T83" fmla="*/ 895 h 905"/>
                    <a:gd name="T84" fmla="*/ 129 w 722"/>
                    <a:gd name="T85" fmla="*/ 904 h 905"/>
                    <a:gd name="T86" fmla="*/ 590 w 722"/>
                    <a:gd name="T87" fmla="*/ 905 h 905"/>
                    <a:gd name="T88" fmla="*/ 600 w 722"/>
                    <a:gd name="T89" fmla="*/ 898 h 905"/>
                    <a:gd name="T90" fmla="*/ 602 w 722"/>
                    <a:gd name="T91" fmla="*/ 270 h 905"/>
                    <a:gd name="T92" fmla="*/ 648 w 722"/>
                    <a:gd name="T93" fmla="*/ 255 h 905"/>
                    <a:gd name="T94" fmla="*/ 687 w 722"/>
                    <a:gd name="T95" fmla="*/ 225 h 905"/>
                    <a:gd name="T96" fmla="*/ 713 w 722"/>
                    <a:gd name="T97" fmla="*/ 183 h 905"/>
                    <a:gd name="T98" fmla="*/ 722 w 722"/>
                    <a:gd name="T99" fmla="*/ 136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2" h="905">
                      <a:moveTo>
                        <a:pt x="587" y="241"/>
                      </a:moveTo>
                      <a:lnTo>
                        <a:pt x="211" y="241"/>
                      </a:lnTo>
                      <a:lnTo>
                        <a:pt x="221" y="231"/>
                      </a:lnTo>
                      <a:lnTo>
                        <a:pt x="230" y="221"/>
                      </a:lnTo>
                      <a:lnTo>
                        <a:pt x="237" y="209"/>
                      </a:lnTo>
                      <a:lnTo>
                        <a:pt x="244" y="195"/>
                      </a:lnTo>
                      <a:lnTo>
                        <a:pt x="249" y="182"/>
                      </a:lnTo>
                      <a:lnTo>
                        <a:pt x="252" y="167"/>
                      </a:lnTo>
                      <a:lnTo>
                        <a:pt x="254" y="152"/>
                      </a:lnTo>
                      <a:lnTo>
                        <a:pt x="256" y="136"/>
                      </a:lnTo>
                      <a:lnTo>
                        <a:pt x="254" y="120"/>
                      </a:lnTo>
                      <a:lnTo>
                        <a:pt x="252" y="105"/>
                      </a:lnTo>
                      <a:lnTo>
                        <a:pt x="248" y="91"/>
                      </a:lnTo>
                      <a:lnTo>
                        <a:pt x="243" y="77"/>
                      </a:lnTo>
                      <a:lnTo>
                        <a:pt x="235" y="64"/>
                      </a:lnTo>
                      <a:lnTo>
                        <a:pt x="227" y="52"/>
                      </a:lnTo>
                      <a:lnTo>
                        <a:pt x="218" y="40"/>
                      </a:lnTo>
                      <a:lnTo>
                        <a:pt x="207" y="30"/>
                      </a:lnTo>
                      <a:lnTo>
                        <a:pt x="587" y="30"/>
                      </a:lnTo>
                      <a:lnTo>
                        <a:pt x="598" y="30"/>
                      </a:lnTo>
                      <a:lnTo>
                        <a:pt x="607" y="33"/>
                      </a:lnTo>
                      <a:lnTo>
                        <a:pt x="617" y="36"/>
                      </a:lnTo>
                      <a:lnTo>
                        <a:pt x="627" y="39"/>
                      </a:lnTo>
                      <a:lnTo>
                        <a:pt x="635" y="43"/>
                      </a:lnTo>
                      <a:lnTo>
                        <a:pt x="645" y="50"/>
                      </a:lnTo>
                      <a:lnTo>
                        <a:pt x="652" y="56"/>
                      </a:lnTo>
                      <a:lnTo>
                        <a:pt x="660" y="63"/>
                      </a:lnTo>
                      <a:lnTo>
                        <a:pt x="668" y="70"/>
                      </a:lnTo>
                      <a:lnTo>
                        <a:pt x="674" y="79"/>
                      </a:lnTo>
                      <a:lnTo>
                        <a:pt x="679" y="87"/>
                      </a:lnTo>
                      <a:lnTo>
                        <a:pt x="684" y="96"/>
                      </a:lnTo>
                      <a:lnTo>
                        <a:pt x="688" y="106"/>
                      </a:lnTo>
                      <a:lnTo>
                        <a:pt x="690" y="115"/>
                      </a:lnTo>
                      <a:lnTo>
                        <a:pt x="692" y="126"/>
                      </a:lnTo>
                      <a:lnTo>
                        <a:pt x="692" y="136"/>
                      </a:lnTo>
                      <a:lnTo>
                        <a:pt x="692" y="145"/>
                      </a:lnTo>
                      <a:lnTo>
                        <a:pt x="690" y="156"/>
                      </a:lnTo>
                      <a:lnTo>
                        <a:pt x="688" y="166"/>
                      </a:lnTo>
                      <a:lnTo>
                        <a:pt x="684" y="176"/>
                      </a:lnTo>
                      <a:lnTo>
                        <a:pt x="679" y="184"/>
                      </a:lnTo>
                      <a:lnTo>
                        <a:pt x="674" y="193"/>
                      </a:lnTo>
                      <a:lnTo>
                        <a:pt x="668" y="201"/>
                      </a:lnTo>
                      <a:lnTo>
                        <a:pt x="660" y="209"/>
                      </a:lnTo>
                      <a:lnTo>
                        <a:pt x="652" y="216"/>
                      </a:lnTo>
                      <a:lnTo>
                        <a:pt x="645" y="222"/>
                      </a:lnTo>
                      <a:lnTo>
                        <a:pt x="635" y="228"/>
                      </a:lnTo>
                      <a:lnTo>
                        <a:pt x="627" y="233"/>
                      </a:lnTo>
                      <a:lnTo>
                        <a:pt x="617" y="236"/>
                      </a:lnTo>
                      <a:lnTo>
                        <a:pt x="607" y="239"/>
                      </a:lnTo>
                      <a:lnTo>
                        <a:pt x="598" y="241"/>
                      </a:lnTo>
                      <a:lnTo>
                        <a:pt x="587" y="241"/>
                      </a:lnTo>
                      <a:lnTo>
                        <a:pt x="587" y="241"/>
                      </a:lnTo>
                      <a:close/>
                      <a:moveTo>
                        <a:pt x="572" y="874"/>
                      </a:moveTo>
                      <a:lnTo>
                        <a:pt x="150" y="874"/>
                      </a:lnTo>
                      <a:lnTo>
                        <a:pt x="150" y="271"/>
                      </a:lnTo>
                      <a:lnTo>
                        <a:pt x="572" y="271"/>
                      </a:lnTo>
                      <a:lnTo>
                        <a:pt x="572" y="874"/>
                      </a:lnTo>
                      <a:close/>
                      <a:moveTo>
                        <a:pt x="150" y="240"/>
                      </a:moveTo>
                      <a:lnTo>
                        <a:pt x="150" y="181"/>
                      </a:lnTo>
                      <a:lnTo>
                        <a:pt x="217" y="181"/>
                      </a:lnTo>
                      <a:lnTo>
                        <a:pt x="211" y="192"/>
                      </a:lnTo>
                      <a:lnTo>
                        <a:pt x="206" y="201"/>
                      </a:lnTo>
                      <a:lnTo>
                        <a:pt x="199" y="211"/>
                      </a:lnTo>
                      <a:lnTo>
                        <a:pt x="191" y="220"/>
                      </a:lnTo>
                      <a:lnTo>
                        <a:pt x="182" y="226"/>
                      </a:lnTo>
                      <a:lnTo>
                        <a:pt x="172" y="233"/>
                      </a:lnTo>
                      <a:lnTo>
                        <a:pt x="161" y="237"/>
                      </a:lnTo>
                      <a:lnTo>
                        <a:pt x="150" y="240"/>
                      </a:lnTo>
                      <a:lnTo>
                        <a:pt x="150" y="240"/>
                      </a:lnTo>
                      <a:close/>
                      <a:moveTo>
                        <a:pt x="30" y="604"/>
                      </a:moveTo>
                      <a:lnTo>
                        <a:pt x="30" y="136"/>
                      </a:lnTo>
                      <a:lnTo>
                        <a:pt x="30" y="125"/>
                      </a:lnTo>
                      <a:lnTo>
                        <a:pt x="32" y="115"/>
                      </a:lnTo>
                      <a:lnTo>
                        <a:pt x="34" y="105"/>
                      </a:lnTo>
                      <a:lnTo>
                        <a:pt x="37" y="96"/>
                      </a:lnTo>
                      <a:lnTo>
                        <a:pt x="42" y="86"/>
                      </a:lnTo>
                      <a:lnTo>
                        <a:pt x="47" y="78"/>
                      </a:lnTo>
                      <a:lnTo>
                        <a:pt x="52" y="69"/>
                      </a:lnTo>
                      <a:lnTo>
                        <a:pt x="59" y="62"/>
                      </a:lnTo>
                      <a:lnTo>
                        <a:pt x="66" y="55"/>
                      </a:lnTo>
                      <a:lnTo>
                        <a:pt x="74" y="49"/>
                      </a:lnTo>
                      <a:lnTo>
                        <a:pt x="82" y="43"/>
                      </a:lnTo>
                      <a:lnTo>
                        <a:pt x="91" y="39"/>
                      </a:lnTo>
                      <a:lnTo>
                        <a:pt x="100" y="35"/>
                      </a:lnTo>
                      <a:lnTo>
                        <a:pt x="109" y="33"/>
                      </a:lnTo>
                      <a:lnTo>
                        <a:pt x="119" y="30"/>
                      </a:lnTo>
                      <a:lnTo>
                        <a:pt x="129" y="30"/>
                      </a:lnTo>
                      <a:lnTo>
                        <a:pt x="138" y="30"/>
                      </a:lnTo>
                      <a:lnTo>
                        <a:pt x="148" y="33"/>
                      </a:lnTo>
                      <a:lnTo>
                        <a:pt x="157" y="35"/>
                      </a:lnTo>
                      <a:lnTo>
                        <a:pt x="165" y="39"/>
                      </a:lnTo>
                      <a:lnTo>
                        <a:pt x="174" y="43"/>
                      </a:lnTo>
                      <a:lnTo>
                        <a:pt x="182" y="49"/>
                      </a:lnTo>
                      <a:lnTo>
                        <a:pt x="190" y="55"/>
                      </a:lnTo>
                      <a:lnTo>
                        <a:pt x="196" y="62"/>
                      </a:lnTo>
                      <a:lnTo>
                        <a:pt x="203" y="69"/>
                      </a:lnTo>
                      <a:lnTo>
                        <a:pt x="208" y="78"/>
                      </a:lnTo>
                      <a:lnTo>
                        <a:pt x="214" y="86"/>
                      </a:lnTo>
                      <a:lnTo>
                        <a:pt x="218" y="95"/>
                      </a:lnTo>
                      <a:lnTo>
                        <a:pt x="221" y="105"/>
                      </a:lnTo>
                      <a:lnTo>
                        <a:pt x="223" y="115"/>
                      </a:lnTo>
                      <a:lnTo>
                        <a:pt x="224" y="125"/>
                      </a:lnTo>
                      <a:lnTo>
                        <a:pt x="225" y="136"/>
                      </a:lnTo>
                      <a:lnTo>
                        <a:pt x="225" y="143"/>
                      </a:lnTo>
                      <a:lnTo>
                        <a:pt x="224" y="151"/>
                      </a:lnTo>
                      <a:lnTo>
                        <a:pt x="135" y="151"/>
                      </a:lnTo>
                      <a:lnTo>
                        <a:pt x="132" y="151"/>
                      </a:lnTo>
                      <a:lnTo>
                        <a:pt x="129" y="152"/>
                      </a:lnTo>
                      <a:lnTo>
                        <a:pt x="126" y="153"/>
                      </a:lnTo>
                      <a:lnTo>
                        <a:pt x="124" y="155"/>
                      </a:lnTo>
                      <a:lnTo>
                        <a:pt x="122" y="157"/>
                      </a:lnTo>
                      <a:lnTo>
                        <a:pt x="121" y="160"/>
                      </a:lnTo>
                      <a:lnTo>
                        <a:pt x="120" y="163"/>
                      </a:lnTo>
                      <a:lnTo>
                        <a:pt x="120" y="166"/>
                      </a:lnTo>
                      <a:lnTo>
                        <a:pt x="120" y="256"/>
                      </a:lnTo>
                      <a:lnTo>
                        <a:pt x="120" y="604"/>
                      </a:lnTo>
                      <a:lnTo>
                        <a:pt x="30" y="604"/>
                      </a:lnTo>
                      <a:close/>
                      <a:moveTo>
                        <a:pt x="722" y="136"/>
                      </a:moveTo>
                      <a:lnTo>
                        <a:pt x="722" y="123"/>
                      </a:lnTo>
                      <a:lnTo>
                        <a:pt x="720" y="110"/>
                      </a:lnTo>
                      <a:lnTo>
                        <a:pt x="717" y="97"/>
                      </a:lnTo>
                      <a:lnTo>
                        <a:pt x="712" y="84"/>
                      </a:lnTo>
                      <a:lnTo>
                        <a:pt x="706" y="72"/>
                      </a:lnTo>
                      <a:lnTo>
                        <a:pt x="699" y="62"/>
                      </a:lnTo>
                      <a:lnTo>
                        <a:pt x="691" y="51"/>
                      </a:lnTo>
                      <a:lnTo>
                        <a:pt x="682" y="41"/>
                      </a:lnTo>
                      <a:lnTo>
                        <a:pt x="672" y="33"/>
                      </a:lnTo>
                      <a:lnTo>
                        <a:pt x="661" y="24"/>
                      </a:lnTo>
                      <a:lnTo>
                        <a:pt x="650" y="17"/>
                      </a:lnTo>
                      <a:lnTo>
                        <a:pt x="638" y="11"/>
                      </a:lnTo>
                      <a:lnTo>
                        <a:pt x="626" y="7"/>
                      </a:lnTo>
                      <a:lnTo>
                        <a:pt x="614" y="3"/>
                      </a:lnTo>
                      <a:lnTo>
                        <a:pt x="601" y="1"/>
                      </a:lnTo>
                      <a:lnTo>
                        <a:pt x="587" y="0"/>
                      </a:lnTo>
                      <a:lnTo>
                        <a:pt x="135" y="0"/>
                      </a:lnTo>
                      <a:lnTo>
                        <a:pt x="134" y="0"/>
                      </a:lnTo>
                      <a:lnTo>
                        <a:pt x="133" y="0"/>
                      </a:lnTo>
                      <a:lnTo>
                        <a:pt x="131" y="0"/>
                      </a:lnTo>
                      <a:lnTo>
                        <a:pt x="129" y="0"/>
                      </a:lnTo>
                      <a:lnTo>
                        <a:pt x="116" y="1"/>
                      </a:lnTo>
                      <a:lnTo>
                        <a:pt x="103" y="2"/>
                      </a:lnTo>
                      <a:lnTo>
                        <a:pt x="90" y="7"/>
                      </a:lnTo>
                      <a:lnTo>
                        <a:pt x="78" y="11"/>
                      </a:lnTo>
                      <a:lnTo>
                        <a:pt x="67" y="16"/>
                      </a:lnTo>
                      <a:lnTo>
                        <a:pt x="57" y="24"/>
                      </a:lnTo>
                      <a:lnTo>
                        <a:pt x="47" y="31"/>
                      </a:lnTo>
                      <a:lnTo>
                        <a:pt x="37" y="40"/>
                      </a:lnTo>
                      <a:lnTo>
                        <a:pt x="29" y="50"/>
                      </a:lnTo>
                      <a:lnTo>
                        <a:pt x="21" y="60"/>
                      </a:lnTo>
                      <a:lnTo>
                        <a:pt x="15" y="71"/>
                      </a:lnTo>
                      <a:lnTo>
                        <a:pt x="9" y="83"/>
                      </a:lnTo>
                      <a:lnTo>
                        <a:pt x="5" y="96"/>
                      </a:lnTo>
                      <a:lnTo>
                        <a:pt x="2" y="109"/>
                      </a:lnTo>
                      <a:lnTo>
                        <a:pt x="0" y="122"/>
                      </a:lnTo>
                      <a:lnTo>
                        <a:pt x="0" y="136"/>
                      </a:lnTo>
                      <a:lnTo>
                        <a:pt x="0" y="619"/>
                      </a:lnTo>
                      <a:lnTo>
                        <a:pt x="0" y="621"/>
                      </a:lnTo>
                      <a:lnTo>
                        <a:pt x="1" y="624"/>
                      </a:lnTo>
                      <a:lnTo>
                        <a:pt x="2" y="626"/>
                      </a:lnTo>
                      <a:lnTo>
                        <a:pt x="4" y="629"/>
                      </a:lnTo>
                      <a:lnTo>
                        <a:pt x="6" y="630"/>
                      </a:lnTo>
                      <a:lnTo>
                        <a:pt x="8" y="633"/>
                      </a:lnTo>
                      <a:lnTo>
                        <a:pt x="11" y="633"/>
                      </a:lnTo>
                      <a:lnTo>
                        <a:pt x="15" y="634"/>
                      </a:lnTo>
                      <a:lnTo>
                        <a:pt x="120" y="634"/>
                      </a:lnTo>
                      <a:lnTo>
                        <a:pt x="120" y="890"/>
                      </a:lnTo>
                      <a:lnTo>
                        <a:pt x="120" y="893"/>
                      </a:lnTo>
                      <a:lnTo>
                        <a:pt x="121" y="895"/>
                      </a:lnTo>
                      <a:lnTo>
                        <a:pt x="122" y="898"/>
                      </a:lnTo>
                      <a:lnTo>
                        <a:pt x="124" y="900"/>
                      </a:lnTo>
                      <a:lnTo>
                        <a:pt x="126" y="902"/>
                      </a:lnTo>
                      <a:lnTo>
                        <a:pt x="129" y="904"/>
                      </a:lnTo>
                      <a:lnTo>
                        <a:pt x="132" y="905"/>
                      </a:lnTo>
                      <a:lnTo>
                        <a:pt x="135" y="905"/>
                      </a:lnTo>
                      <a:lnTo>
                        <a:pt x="587" y="905"/>
                      </a:lnTo>
                      <a:lnTo>
                        <a:pt x="590" y="905"/>
                      </a:lnTo>
                      <a:lnTo>
                        <a:pt x="593" y="904"/>
                      </a:lnTo>
                      <a:lnTo>
                        <a:pt x="595" y="902"/>
                      </a:lnTo>
                      <a:lnTo>
                        <a:pt x="598" y="900"/>
                      </a:lnTo>
                      <a:lnTo>
                        <a:pt x="600" y="898"/>
                      </a:lnTo>
                      <a:lnTo>
                        <a:pt x="601" y="895"/>
                      </a:lnTo>
                      <a:lnTo>
                        <a:pt x="602" y="893"/>
                      </a:lnTo>
                      <a:lnTo>
                        <a:pt x="602" y="890"/>
                      </a:lnTo>
                      <a:lnTo>
                        <a:pt x="602" y="270"/>
                      </a:lnTo>
                      <a:lnTo>
                        <a:pt x="615" y="268"/>
                      </a:lnTo>
                      <a:lnTo>
                        <a:pt x="626" y="265"/>
                      </a:lnTo>
                      <a:lnTo>
                        <a:pt x="637" y="260"/>
                      </a:lnTo>
                      <a:lnTo>
                        <a:pt x="648" y="255"/>
                      </a:lnTo>
                      <a:lnTo>
                        <a:pt x="659" y="249"/>
                      </a:lnTo>
                      <a:lnTo>
                        <a:pt x="669" y="241"/>
                      </a:lnTo>
                      <a:lnTo>
                        <a:pt x="678" y="234"/>
                      </a:lnTo>
                      <a:lnTo>
                        <a:pt x="687" y="225"/>
                      </a:lnTo>
                      <a:lnTo>
                        <a:pt x="694" y="215"/>
                      </a:lnTo>
                      <a:lnTo>
                        <a:pt x="702" y="206"/>
                      </a:lnTo>
                      <a:lnTo>
                        <a:pt x="708" y="195"/>
                      </a:lnTo>
                      <a:lnTo>
                        <a:pt x="713" y="183"/>
                      </a:lnTo>
                      <a:lnTo>
                        <a:pt x="717" y="172"/>
                      </a:lnTo>
                      <a:lnTo>
                        <a:pt x="720" y="160"/>
                      </a:lnTo>
                      <a:lnTo>
                        <a:pt x="722" y="148"/>
                      </a:lnTo>
                      <a:lnTo>
                        <a:pt x="722" y="136"/>
                      </a:lnTo>
                      <a:lnTo>
                        <a:pt x="722"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91" name="Freeform 51">
                  <a:extLst>
                    <a:ext uri="{FF2B5EF4-FFF2-40B4-BE49-F238E27FC236}">
                      <a16:creationId xmlns:a16="http://schemas.microsoft.com/office/drawing/2014/main" id="{321474B3-68A5-4403-AC7D-000F684C83E4}"/>
                    </a:ext>
                  </a:extLst>
                </p:cNvPr>
                <p:cNvSpPr>
                  <a:spLocks/>
                </p:cNvSpPr>
                <p:nvPr/>
              </p:nvSpPr>
              <p:spPr bwMode="auto">
                <a:xfrm>
                  <a:off x="995363" y="205105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8 h 30"/>
                    <a:gd name="T10" fmla="*/ 176 w 181"/>
                    <a:gd name="T11" fmla="*/ 25 h 30"/>
                    <a:gd name="T12" fmla="*/ 178 w 181"/>
                    <a:gd name="T13" fmla="*/ 23 h 30"/>
                    <a:gd name="T14" fmla="*/ 180 w 181"/>
                    <a:gd name="T15" fmla="*/ 21 h 30"/>
                    <a:gd name="T16" fmla="*/ 181 w 181"/>
                    <a:gd name="T17" fmla="*/ 18 h 30"/>
                    <a:gd name="T18" fmla="*/ 181 w 181"/>
                    <a:gd name="T19" fmla="*/ 15 h 30"/>
                    <a:gd name="T20" fmla="*/ 181 w 181"/>
                    <a:gd name="T21" fmla="*/ 13 h 30"/>
                    <a:gd name="T22" fmla="*/ 180 w 181"/>
                    <a:gd name="T23" fmla="*/ 9 h 30"/>
                    <a:gd name="T24" fmla="*/ 178 w 181"/>
                    <a:gd name="T25" fmla="*/ 7 h 30"/>
                    <a:gd name="T26" fmla="*/ 176 w 181"/>
                    <a:gd name="T27" fmla="*/ 4 h 30"/>
                    <a:gd name="T28" fmla="*/ 174 w 181"/>
                    <a:gd name="T29" fmla="*/ 3 h 30"/>
                    <a:gd name="T30" fmla="*/ 172 w 181"/>
                    <a:gd name="T31" fmla="*/ 1 h 30"/>
                    <a:gd name="T32" fmla="*/ 169 w 181"/>
                    <a:gd name="T33" fmla="*/ 1 h 30"/>
                    <a:gd name="T34" fmla="*/ 166 w 181"/>
                    <a:gd name="T35" fmla="*/ 0 h 30"/>
                    <a:gd name="T36" fmla="*/ 15 w 181"/>
                    <a:gd name="T37" fmla="*/ 0 h 30"/>
                    <a:gd name="T38" fmla="*/ 12 w 181"/>
                    <a:gd name="T39" fmla="*/ 1 h 30"/>
                    <a:gd name="T40" fmla="*/ 10 w 181"/>
                    <a:gd name="T41" fmla="*/ 1 h 30"/>
                    <a:gd name="T42" fmla="*/ 6 w 181"/>
                    <a:gd name="T43" fmla="*/ 3 h 30"/>
                    <a:gd name="T44" fmla="*/ 4 w 181"/>
                    <a:gd name="T45" fmla="*/ 4 h 30"/>
                    <a:gd name="T46" fmla="*/ 2 w 181"/>
                    <a:gd name="T47" fmla="*/ 7 h 30"/>
                    <a:gd name="T48" fmla="*/ 1 w 181"/>
                    <a:gd name="T49" fmla="*/ 9 h 30"/>
                    <a:gd name="T50" fmla="*/ 0 w 181"/>
                    <a:gd name="T51" fmla="*/ 13 h 30"/>
                    <a:gd name="T52" fmla="*/ 0 w 181"/>
                    <a:gd name="T53" fmla="*/ 15 h 30"/>
                    <a:gd name="T54" fmla="*/ 0 w 181"/>
                    <a:gd name="T55" fmla="*/ 18 h 30"/>
                    <a:gd name="T56" fmla="*/ 1 w 181"/>
                    <a:gd name="T57" fmla="*/ 21 h 30"/>
                    <a:gd name="T58" fmla="*/ 2 w 181"/>
                    <a:gd name="T59" fmla="*/ 23 h 30"/>
                    <a:gd name="T60" fmla="*/ 4 w 181"/>
                    <a:gd name="T61" fmla="*/ 25 h 30"/>
                    <a:gd name="T62" fmla="*/ 6 w 181"/>
                    <a:gd name="T63" fmla="*/ 28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8"/>
                      </a:lnTo>
                      <a:lnTo>
                        <a:pt x="176" y="25"/>
                      </a:lnTo>
                      <a:lnTo>
                        <a:pt x="178" y="23"/>
                      </a:lnTo>
                      <a:lnTo>
                        <a:pt x="180" y="21"/>
                      </a:lnTo>
                      <a:lnTo>
                        <a:pt x="181" y="18"/>
                      </a:lnTo>
                      <a:lnTo>
                        <a:pt x="181" y="15"/>
                      </a:lnTo>
                      <a:lnTo>
                        <a:pt x="181" y="13"/>
                      </a:lnTo>
                      <a:lnTo>
                        <a:pt x="180" y="9"/>
                      </a:lnTo>
                      <a:lnTo>
                        <a:pt x="178" y="7"/>
                      </a:lnTo>
                      <a:lnTo>
                        <a:pt x="176" y="4"/>
                      </a:lnTo>
                      <a:lnTo>
                        <a:pt x="174" y="3"/>
                      </a:lnTo>
                      <a:lnTo>
                        <a:pt x="172" y="1"/>
                      </a:lnTo>
                      <a:lnTo>
                        <a:pt x="169" y="1"/>
                      </a:lnTo>
                      <a:lnTo>
                        <a:pt x="166" y="0"/>
                      </a:lnTo>
                      <a:lnTo>
                        <a:pt x="15" y="0"/>
                      </a:lnTo>
                      <a:lnTo>
                        <a:pt x="12" y="1"/>
                      </a:lnTo>
                      <a:lnTo>
                        <a:pt x="10" y="1"/>
                      </a:lnTo>
                      <a:lnTo>
                        <a:pt x="6" y="3"/>
                      </a:lnTo>
                      <a:lnTo>
                        <a:pt x="4" y="4"/>
                      </a:lnTo>
                      <a:lnTo>
                        <a:pt x="2" y="7"/>
                      </a:lnTo>
                      <a:lnTo>
                        <a:pt x="1" y="9"/>
                      </a:lnTo>
                      <a:lnTo>
                        <a:pt x="0" y="13"/>
                      </a:lnTo>
                      <a:lnTo>
                        <a:pt x="0" y="15"/>
                      </a:lnTo>
                      <a:lnTo>
                        <a:pt x="0" y="18"/>
                      </a:lnTo>
                      <a:lnTo>
                        <a:pt x="1" y="21"/>
                      </a:lnTo>
                      <a:lnTo>
                        <a:pt x="2"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92" name="Freeform 52">
                  <a:extLst>
                    <a:ext uri="{FF2B5EF4-FFF2-40B4-BE49-F238E27FC236}">
                      <a16:creationId xmlns:a16="http://schemas.microsoft.com/office/drawing/2014/main" id="{94537F88-BDFF-4D7C-88EB-AD2018CA0D41}"/>
                    </a:ext>
                  </a:extLst>
                </p:cNvPr>
                <p:cNvSpPr>
                  <a:spLocks/>
                </p:cNvSpPr>
                <p:nvPr/>
              </p:nvSpPr>
              <p:spPr bwMode="auto">
                <a:xfrm>
                  <a:off x="995363" y="2098675"/>
                  <a:ext cx="57150" cy="9525"/>
                </a:xfrm>
                <a:custGeom>
                  <a:avLst/>
                  <a:gdLst>
                    <a:gd name="T0" fmla="*/ 15 w 181"/>
                    <a:gd name="T1" fmla="*/ 31 h 31"/>
                    <a:gd name="T2" fmla="*/ 166 w 181"/>
                    <a:gd name="T3" fmla="*/ 31 h 31"/>
                    <a:gd name="T4" fmla="*/ 169 w 181"/>
                    <a:gd name="T5" fmla="*/ 30 h 31"/>
                    <a:gd name="T6" fmla="*/ 172 w 181"/>
                    <a:gd name="T7" fmla="*/ 30 h 31"/>
                    <a:gd name="T8" fmla="*/ 174 w 181"/>
                    <a:gd name="T9" fmla="*/ 28 h 31"/>
                    <a:gd name="T10" fmla="*/ 176 w 181"/>
                    <a:gd name="T11" fmla="*/ 27 h 31"/>
                    <a:gd name="T12" fmla="*/ 178 w 181"/>
                    <a:gd name="T13" fmla="*/ 24 h 31"/>
                    <a:gd name="T14" fmla="*/ 180 w 181"/>
                    <a:gd name="T15" fmla="*/ 22 h 31"/>
                    <a:gd name="T16" fmla="*/ 181 w 181"/>
                    <a:gd name="T17" fmla="*/ 19 h 31"/>
                    <a:gd name="T18" fmla="*/ 181 w 181"/>
                    <a:gd name="T19" fmla="*/ 16 h 31"/>
                    <a:gd name="T20" fmla="*/ 181 w 181"/>
                    <a:gd name="T21" fmla="*/ 13 h 31"/>
                    <a:gd name="T22" fmla="*/ 180 w 181"/>
                    <a:gd name="T23" fmla="*/ 10 h 31"/>
                    <a:gd name="T24" fmla="*/ 178 w 181"/>
                    <a:gd name="T25" fmla="*/ 8 h 31"/>
                    <a:gd name="T26" fmla="*/ 176 w 181"/>
                    <a:gd name="T27" fmla="*/ 6 h 31"/>
                    <a:gd name="T28" fmla="*/ 174 w 181"/>
                    <a:gd name="T29" fmla="*/ 3 h 31"/>
                    <a:gd name="T30" fmla="*/ 172 w 181"/>
                    <a:gd name="T31" fmla="*/ 2 h 31"/>
                    <a:gd name="T32" fmla="*/ 169 w 181"/>
                    <a:gd name="T33" fmla="*/ 1 h 31"/>
                    <a:gd name="T34" fmla="*/ 166 w 181"/>
                    <a:gd name="T35" fmla="*/ 1 h 31"/>
                    <a:gd name="T36" fmla="*/ 15 w 181"/>
                    <a:gd name="T37" fmla="*/ 0 h 31"/>
                    <a:gd name="T38" fmla="*/ 12 w 181"/>
                    <a:gd name="T39" fmla="*/ 1 h 31"/>
                    <a:gd name="T40" fmla="*/ 10 w 181"/>
                    <a:gd name="T41" fmla="*/ 2 h 31"/>
                    <a:gd name="T42" fmla="*/ 6 w 181"/>
                    <a:gd name="T43" fmla="*/ 3 h 31"/>
                    <a:gd name="T44" fmla="*/ 4 w 181"/>
                    <a:gd name="T45" fmla="*/ 6 h 31"/>
                    <a:gd name="T46" fmla="*/ 2 w 181"/>
                    <a:gd name="T47" fmla="*/ 8 h 31"/>
                    <a:gd name="T48" fmla="*/ 1 w 181"/>
                    <a:gd name="T49" fmla="*/ 10 h 31"/>
                    <a:gd name="T50" fmla="*/ 0 w 181"/>
                    <a:gd name="T51" fmla="*/ 13 h 31"/>
                    <a:gd name="T52" fmla="*/ 0 w 181"/>
                    <a:gd name="T53" fmla="*/ 16 h 31"/>
                    <a:gd name="T54" fmla="*/ 0 w 181"/>
                    <a:gd name="T55" fmla="*/ 19 h 31"/>
                    <a:gd name="T56" fmla="*/ 1 w 181"/>
                    <a:gd name="T57" fmla="*/ 22 h 31"/>
                    <a:gd name="T58" fmla="*/ 2 w 181"/>
                    <a:gd name="T59" fmla="*/ 24 h 31"/>
                    <a:gd name="T60" fmla="*/ 4 w 181"/>
                    <a:gd name="T61" fmla="*/ 27 h 31"/>
                    <a:gd name="T62" fmla="*/ 6 w 181"/>
                    <a:gd name="T63" fmla="*/ 28 h 31"/>
                    <a:gd name="T64" fmla="*/ 10 w 181"/>
                    <a:gd name="T65" fmla="*/ 30 h 31"/>
                    <a:gd name="T66" fmla="*/ 12 w 181"/>
                    <a:gd name="T67" fmla="*/ 30 h 31"/>
                    <a:gd name="T68" fmla="*/ 15 w 181"/>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1">
                      <a:moveTo>
                        <a:pt x="15" y="31"/>
                      </a:moveTo>
                      <a:lnTo>
                        <a:pt x="166" y="31"/>
                      </a:lnTo>
                      <a:lnTo>
                        <a:pt x="169" y="30"/>
                      </a:lnTo>
                      <a:lnTo>
                        <a:pt x="172" y="30"/>
                      </a:lnTo>
                      <a:lnTo>
                        <a:pt x="174" y="28"/>
                      </a:lnTo>
                      <a:lnTo>
                        <a:pt x="176" y="27"/>
                      </a:lnTo>
                      <a:lnTo>
                        <a:pt x="178" y="24"/>
                      </a:lnTo>
                      <a:lnTo>
                        <a:pt x="180" y="22"/>
                      </a:lnTo>
                      <a:lnTo>
                        <a:pt x="181" y="19"/>
                      </a:lnTo>
                      <a:lnTo>
                        <a:pt x="181" y="16"/>
                      </a:lnTo>
                      <a:lnTo>
                        <a:pt x="181" y="13"/>
                      </a:lnTo>
                      <a:lnTo>
                        <a:pt x="180" y="10"/>
                      </a:lnTo>
                      <a:lnTo>
                        <a:pt x="178" y="8"/>
                      </a:lnTo>
                      <a:lnTo>
                        <a:pt x="176" y="6"/>
                      </a:lnTo>
                      <a:lnTo>
                        <a:pt x="174" y="3"/>
                      </a:lnTo>
                      <a:lnTo>
                        <a:pt x="172" y="2"/>
                      </a:lnTo>
                      <a:lnTo>
                        <a:pt x="169" y="1"/>
                      </a:lnTo>
                      <a:lnTo>
                        <a:pt x="166" y="1"/>
                      </a:lnTo>
                      <a:lnTo>
                        <a:pt x="15" y="0"/>
                      </a:lnTo>
                      <a:lnTo>
                        <a:pt x="12" y="1"/>
                      </a:lnTo>
                      <a:lnTo>
                        <a:pt x="10" y="2"/>
                      </a:lnTo>
                      <a:lnTo>
                        <a:pt x="6" y="3"/>
                      </a:lnTo>
                      <a:lnTo>
                        <a:pt x="4" y="6"/>
                      </a:lnTo>
                      <a:lnTo>
                        <a:pt x="2" y="8"/>
                      </a:lnTo>
                      <a:lnTo>
                        <a:pt x="1" y="10"/>
                      </a:lnTo>
                      <a:lnTo>
                        <a:pt x="0" y="13"/>
                      </a:lnTo>
                      <a:lnTo>
                        <a:pt x="0" y="16"/>
                      </a:lnTo>
                      <a:lnTo>
                        <a:pt x="0" y="19"/>
                      </a:lnTo>
                      <a:lnTo>
                        <a:pt x="1" y="22"/>
                      </a:lnTo>
                      <a:lnTo>
                        <a:pt x="2" y="24"/>
                      </a:lnTo>
                      <a:lnTo>
                        <a:pt x="4" y="27"/>
                      </a:lnTo>
                      <a:lnTo>
                        <a:pt x="6" y="28"/>
                      </a:lnTo>
                      <a:lnTo>
                        <a:pt x="10" y="30"/>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93" name="Freeform 53">
                  <a:extLst>
                    <a:ext uri="{FF2B5EF4-FFF2-40B4-BE49-F238E27FC236}">
                      <a16:creationId xmlns:a16="http://schemas.microsoft.com/office/drawing/2014/main" id="{08977C09-863A-48AD-A997-191CD5F0AD82}"/>
                    </a:ext>
                  </a:extLst>
                </p:cNvPr>
                <p:cNvSpPr>
                  <a:spLocks/>
                </p:cNvSpPr>
                <p:nvPr/>
              </p:nvSpPr>
              <p:spPr bwMode="auto">
                <a:xfrm>
                  <a:off x="995363" y="2146300"/>
                  <a:ext cx="57150" cy="9525"/>
                </a:xfrm>
                <a:custGeom>
                  <a:avLst/>
                  <a:gdLst>
                    <a:gd name="T0" fmla="*/ 15 w 181"/>
                    <a:gd name="T1" fmla="*/ 30 h 30"/>
                    <a:gd name="T2" fmla="*/ 166 w 181"/>
                    <a:gd name="T3" fmla="*/ 30 h 30"/>
                    <a:gd name="T4" fmla="*/ 169 w 181"/>
                    <a:gd name="T5" fmla="*/ 30 h 30"/>
                    <a:gd name="T6" fmla="*/ 172 w 181"/>
                    <a:gd name="T7" fmla="*/ 29 h 30"/>
                    <a:gd name="T8" fmla="*/ 174 w 181"/>
                    <a:gd name="T9" fmla="*/ 27 h 30"/>
                    <a:gd name="T10" fmla="*/ 176 w 181"/>
                    <a:gd name="T11" fmla="*/ 26 h 30"/>
                    <a:gd name="T12" fmla="*/ 178 w 181"/>
                    <a:gd name="T13" fmla="*/ 23 h 30"/>
                    <a:gd name="T14" fmla="*/ 180 w 181"/>
                    <a:gd name="T15" fmla="*/ 20 h 30"/>
                    <a:gd name="T16" fmla="*/ 181 w 181"/>
                    <a:gd name="T17" fmla="*/ 18 h 30"/>
                    <a:gd name="T18" fmla="*/ 181 w 181"/>
                    <a:gd name="T19" fmla="*/ 15 h 30"/>
                    <a:gd name="T20" fmla="*/ 181 w 181"/>
                    <a:gd name="T21" fmla="*/ 12 h 30"/>
                    <a:gd name="T22" fmla="*/ 180 w 181"/>
                    <a:gd name="T23" fmla="*/ 8 h 30"/>
                    <a:gd name="T24" fmla="*/ 178 w 181"/>
                    <a:gd name="T25" fmla="*/ 6 h 30"/>
                    <a:gd name="T26" fmla="*/ 176 w 181"/>
                    <a:gd name="T27" fmla="*/ 4 h 30"/>
                    <a:gd name="T28" fmla="*/ 174 w 181"/>
                    <a:gd name="T29" fmla="*/ 2 h 30"/>
                    <a:gd name="T30" fmla="*/ 172 w 181"/>
                    <a:gd name="T31" fmla="*/ 1 h 30"/>
                    <a:gd name="T32" fmla="*/ 169 w 181"/>
                    <a:gd name="T33" fmla="*/ 0 h 30"/>
                    <a:gd name="T34" fmla="*/ 166 w 181"/>
                    <a:gd name="T35" fmla="*/ 0 h 30"/>
                    <a:gd name="T36" fmla="*/ 15 w 181"/>
                    <a:gd name="T37" fmla="*/ 0 h 30"/>
                    <a:gd name="T38" fmla="*/ 12 w 181"/>
                    <a:gd name="T39" fmla="*/ 0 h 30"/>
                    <a:gd name="T40" fmla="*/ 10 w 181"/>
                    <a:gd name="T41" fmla="*/ 1 h 30"/>
                    <a:gd name="T42" fmla="*/ 6 w 181"/>
                    <a:gd name="T43" fmla="*/ 2 h 30"/>
                    <a:gd name="T44" fmla="*/ 4 w 181"/>
                    <a:gd name="T45" fmla="*/ 4 h 30"/>
                    <a:gd name="T46" fmla="*/ 2 w 181"/>
                    <a:gd name="T47" fmla="*/ 6 h 30"/>
                    <a:gd name="T48" fmla="*/ 1 w 181"/>
                    <a:gd name="T49" fmla="*/ 8 h 30"/>
                    <a:gd name="T50" fmla="*/ 0 w 181"/>
                    <a:gd name="T51" fmla="*/ 12 h 30"/>
                    <a:gd name="T52" fmla="*/ 0 w 181"/>
                    <a:gd name="T53" fmla="*/ 15 h 30"/>
                    <a:gd name="T54" fmla="*/ 0 w 181"/>
                    <a:gd name="T55" fmla="*/ 18 h 30"/>
                    <a:gd name="T56" fmla="*/ 1 w 181"/>
                    <a:gd name="T57" fmla="*/ 20 h 30"/>
                    <a:gd name="T58" fmla="*/ 2 w 181"/>
                    <a:gd name="T59" fmla="*/ 23 h 30"/>
                    <a:gd name="T60" fmla="*/ 4 w 181"/>
                    <a:gd name="T61" fmla="*/ 26 h 30"/>
                    <a:gd name="T62" fmla="*/ 6 w 181"/>
                    <a:gd name="T63" fmla="*/ 27 h 30"/>
                    <a:gd name="T64" fmla="*/ 10 w 181"/>
                    <a:gd name="T65" fmla="*/ 29 h 30"/>
                    <a:gd name="T66" fmla="*/ 12 w 181"/>
                    <a:gd name="T67" fmla="*/ 30 h 30"/>
                    <a:gd name="T68" fmla="*/ 15 w 18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30">
                      <a:moveTo>
                        <a:pt x="15" y="30"/>
                      </a:moveTo>
                      <a:lnTo>
                        <a:pt x="166" y="30"/>
                      </a:lnTo>
                      <a:lnTo>
                        <a:pt x="169" y="30"/>
                      </a:lnTo>
                      <a:lnTo>
                        <a:pt x="172" y="29"/>
                      </a:lnTo>
                      <a:lnTo>
                        <a:pt x="174" y="27"/>
                      </a:lnTo>
                      <a:lnTo>
                        <a:pt x="176" y="26"/>
                      </a:lnTo>
                      <a:lnTo>
                        <a:pt x="178" y="23"/>
                      </a:lnTo>
                      <a:lnTo>
                        <a:pt x="180" y="20"/>
                      </a:lnTo>
                      <a:lnTo>
                        <a:pt x="181" y="18"/>
                      </a:lnTo>
                      <a:lnTo>
                        <a:pt x="181" y="15"/>
                      </a:lnTo>
                      <a:lnTo>
                        <a:pt x="181" y="12"/>
                      </a:lnTo>
                      <a:lnTo>
                        <a:pt x="180" y="8"/>
                      </a:lnTo>
                      <a:lnTo>
                        <a:pt x="178" y="6"/>
                      </a:lnTo>
                      <a:lnTo>
                        <a:pt x="176" y="4"/>
                      </a:lnTo>
                      <a:lnTo>
                        <a:pt x="174" y="2"/>
                      </a:lnTo>
                      <a:lnTo>
                        <a:pt x="172" y="1"/>
                      </a:lnTo>
                      <a:lnTo>
                        <a:pt x="169" y="0"/>
                      </a:lnTo>
                      <a:lnTo>
                        <a:pt x="166" y="0"/>
                      </a:lnTo>
                      <a:lnTo>
                        <a:pt x="15" y="0"/>
                      </a:ln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94" name="Freeform 54">
                  <a:extLst>
                    <a:ext uri="{FF2B5EF4-FFF2-40B4-BE49-F238E27FC236}">
                      <a16:creationId xmlns:a16="http://schemas.microsoft.com/office/drawing/2014/main" id="{72D62344-FA18-4B57-8792-ADE50C3D03AB}"/>
                    </a:ext>
                  </a:extLst>
                </p:cNvPr>
                <p:cNvSpPr>
                  <a:spLocks/>
                </p:cNvSpPr>
                <p:nvPr/>
              </p:nvSpPr>
              <p:spPr bwMode="auto">
                <a:xfrm>
                  <a:off x="947738" y="2022475"/>
                  <a:ext cx="38100" cy="33338"/>
                </a:xfrm>
                <a:custGeom>
                  <a:avLst/>
                  <a:gdLst>
                    <a:gd name="T0" fmla="*/ 20 w 121"/>
                    <a:gd name="T1" fmla="*/ 101 h 106"/>
                    <a:gd name="T2" fmla="*/ 22 w 121"/>
                    <a:gd name="T3" fmla="*/ 104 h 106"/>
                    <a:gd name="T4" fmla="*/ 25 w 121"/>
                    <a:gd name="T5" fmla="*/ 105 h 106"/>
                    <a:gd name="T6" fmla="*/ 27 w 121"/>
                    <a:gd name="T7" fmla="*/ 106 h 106"/>
                    <a:gd name="T8" fmla="*/ 30 w 121"/>
                    <a:gd name="T9" fmla="*/ 106 h 106"/>
                    <a:gd name="T10" fmla="*/ 36 w 121"/>
                    <a:gd name="T11" fmla="*/ 105 h 106"/>
                    <a:gd name="T12" fmla="*/ 41 w 121"/>
                    <a:gd name="T13" fmla="*/ 101 h 106"/>
                    <a:gd name="T14" fmla="*/ 116 w 121"/>
                    <a:gd name="T15" fmla="*/ 26 h 106"/>
                    <a:gd name="T16" fmla="*/ 119 w 121"/>
                    <a:gd name="T17" fmla="*/ 24 h 106"/>
                    <a:gd name="T18" fmla="*/ 120 w 121"/>
                    <a:gd name="T19" fmla="*/ 21 h 106"/>
                    <a:gd name="T20" fmla="*/ 121 w 121"/>
                    <a:gd name="T21" fmla="*/ 19 h 106"/>
                    <a:gd name="T22" fmla="*/ 121 w 121"/>
                    <a:gd name="T23" fmla="*/ 15 h 106"/>
                    <a:gd name="T24" fmla="*/ 121 w 121"/>
                    <a:gd name="T25" fmla="*/ 13 h 106"/>
                    <a:gd name="T26" fmla="*/ 120 w 121"/>
                    <a:gd name="T27" fmla="*/ 10 h 106"/>
                    <a:gd name="T28" fmla="*/ 119 w 121"/>
                    <a:gd name="T29" fmla="*/ 8 h 106"/>
                    <a:gd name="T30" fmla="*/ 116 w 121"/>
                    <a:gd name="T31" fmla="*/ 5 h 106"/>
                    <a:gd name="T32" fmla="*/ 114 w 121"/>
                    <a:gd name="T33" fmla="*/ 4 h 106"/>
                    <a:gd name="T34" fmla="*/ 111 w 121"/>
                    <a:gd name="T35" fmla="*/ 1 h 106"/>
                    <a:gd name="T36" fmla="*/ 109 w 121"/>
                    <a:gd name="T37" fmla="*/ 0 h 106"/>
                    <a:gd name="T38" fmla="*/ 106 w 121"/>
                    <a:gd name="T39" fmla="*/ 0 h 106"/>
                    <a:gd name="T40" fmla="*/ 103 w 121"/>
                    <a:gd name="T41" fmla="*/ 0 h 106"/>
                    <a:gd name="T42" fmla="*/ 100 w 121"/>
                    <a:gd name="T43" fmla="*/ 1 h 106"/>
                    <a:gd name="T44" fmla="*/ 97 w 121"/>
                    <a:gd name="T45" fmla="*/ 4 h 106"/>
                    <a:gd name="T46" fmla="*/ 95 w 121"/>
                    <a:gd name="T47" fmla="*/ 5 h 106"/>
                    <a:gd name="T48" fmla="*/ 30 w 121"/>
                    <a:gd name="T49" fmla="*/ 69 h 106"/>
                    <a:gd name="T50" fmla="*/ 26 w 121"/>
                    <a:gd name="T51" fmla="*/ 65 h 106"/>
                    <a:gd name="T52" fmla="*/ 24 w 121"/>
                    <a:gd name="T53" fmla="*/ 64 h 106"/>
                    <a:gd name="T54" fmla="*/ 21 w 121"/>
                    <a:gd name="T55" fmla="*/ 62 h 106"/>
                    <a:gd name="T56" fmla="*/ 18 w 121"/>
                    <a:gd name="T57" fmla="*/ 62 h 106"/>
                    <a:gd name="T58" fmla="*/ 15 w 121"/>
                    <a:gd name="T59" fmla="*/ 61 h 106"/>
                    <a:gd name="T60" fmla="*/ 12 w 121"/>
                    <a:gd name="T61" fmla="*/ 62 h 106"/>
                    <a:gd name="T62" fmla="*/ 10 w 121"/>
                    <a:gd name="T63" fmla="*/ 62 h 106"/>
                    <a:gd name="T64" fmla="*/ 7 w 121"/>
                    <a:gd name="T65" fmla="*/ 64 h 106"/>
                    <a:gd name="T66" fmla="*/ 5 w 121"/>
                    <a:gd name="T67" fmla="*/ 65 h 106"/>
                    <a:gd name="T68" fmla="*/ 2 w 121"/>
                    <a:gd name="T69" fmla="*/ 68 h 106"/>
                    <a:gd name="T70" fmla="*/ 1 w 121"/>
                    <a:gd name="T71" fmla="*/ 70 h 106"/>
                    <a:gd name="T72" fmla="*/ 0 w 121"/>
                    <a:gd name="T73" fmla="*/ 73 h 106"/>
                    <a:gd name="T74" fmla="*/ 0 w 121"/>
                    <a:gd name="T75" fmla="*/ 76 h 106"/>
                    <a:gd name="T76" fmla="*/ 0 w 121"/>
                    <a:gd name="T77" fmla="*/ 79 h 106"/>
                    <a:gd name="T78" fmla="*/ 1 w 121"/>
                    <a:gd name="T79" fmla="*/ 82 h 106"/>
                    <a:gd name="T80" fmla="*/ 2 w 121"/>
                    <a:gd name="T81" fmla="*/ 84 h 106"/>
                    <a:gd name="T82" fmla="*/ 5 w 121"/>
                    <a:gd name="T83" fmla="*/ 86 h 106"/>
                    <a:gd name="T84" fmla="*/ 20 w 121"/>
                    <a:gd name="T85"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1" h="106">
                      <a:moveTo>
                        <a:pt x="20" y="101"/>
                      </a:moveTo>
                      <a:lnTo>
                        <a:pt x="22" y="104"/>
                      </a:lnTo>
                      <a:lnTo>
                        <a:pt x="25" y="105"/>
                      </a:lnTo>
                      <a:lnTo>
                        <a:pt x="27" y="106"/>
                      </a:lnTo>
                      <a:lnTo>
                        <a:pt x="30" y="106"/>
                      </a:lnTo>
                      <a:lnTo>
                        <a:pt x="36" y="105"/>
                      </a:lnTo>
                      <a:lnTo>
                        <a:pt x="41" y="101"/>
                      </a:lnTo>
                      <a:lnTo>
                        <a:pt x="116" y="26"/>
                      </a:lnTo>
                      <a:lnTo>
                        <a:pt x="119" y="24"/>
                      </a:lnTo>
                      <a:lnTo>
                        <a:pt x="120" y="21"/>
                      </a:lnTo>
                      <a:lnTo>
                        <a:pt x="121" y="19"/>
                      </a:lnTo>
                      <a:lnTo>
                        <a:pt x="121" y="15"/>
                      </a:lnTo>
                      <a:lnTo>
                        <a:pt x="121" y="13"/>
                      </a:lnTo>
                      <a:lnTo>
                        <a:pt x="120" y="10"/>
                      </a:lnTo>
                      <a:lnTo>
                        <a:pt x="119" y="8"/>
                      </a:lnTo>
                      <a:lnTo>
                        <a:pt x="116" y="5"/>
                      </a:lnTo>
                      <a:lnTo>
                        <a:pt x="114" y="4"/>
                      </a:lnTo>
                      <a:lnTo>
                        <a:pt x="111" y="1"/>
                      </a:lnTo>
                      <a:lnTo>
                        <a:pt x="109" y="0"/>
                      </a:lnTo>
                      <a:lnTo>
                        <a:pt x="106" y="0"/>
                      </a:lnTo>
                      <a:lnTo>
                        <a:pt x="103" y="0"/>
                      </a:lnTo>
                      <a:lnTo>
                        <a:pt x="100" y="1"/>
                      </a:lnTo>
                      <a:lnTo>
                        <a:pt x="97" y="4"/>
                      </a:lnTo>
                      <a:lnTo>
                        <a:pt x="95" y="5"/>
                      </a:lnTo>
                      <a:lnTo>
                        <a:pt x="30" y="69"/>
                      </a:lnTo>
                      <a:lnTo>
                        <a:pt x="26" y="65"/>
                      </a:lnTo>
                      <a:lnTo>
                        <a:pt x="24" y="64"/>
                      </a:lnTo>
                      <a:lnTo>
                        <a:pt x="21" y="62"/>
                      </a:lnTo>
                      <a:lnTo>
                        <a:pt x="18" y="62"/>
                      </a:lnTo>
                      <a:lnTo>
                        <a:pt x="15" y="61"/>
                      </a:lnTo>
                      <a:lnTo>
                        <a:pt x="12" y="62"/>
                      </a:lnTo>
                      <a:lnTo>
                        <a:pt x="10" y="62"/>
                      </a:lnTo>
                      <a:lnTo>
                        <a:pt x="7" y="64"/>
                      </a:lnTo>
                      <a:lnTo>
                        <a:pt x="5" y="65"/>
                      </a:lnTo>
                      <a:lnTo>
                        <a:pt x="2" y="68"/>
                      </a:lnTo>
                      <a:lnTo>
                        <a:pt x="1" y="70"/>
                      </a:lnTo>
                      <a:lnTo>
                        <a:pt x="0" y="73"/>
                      </a:lnTo>
                      <a:lnTo>
                        <a:pt x="0" y="76"/>
                      </a:lnTo>
                      <a:lnTo>
                        <a:pt x="0" y="79"/>
                      </a:lnTo>
                      <a:lnTo>
                        <a:pt x="1" y="82"/>
                      </a:lnTo>
                      <a:lnTo>
                        <a:pt x="2" y="84"/>
                      </a:lnTo>
                      <a:lnTo>
                        <a:pt x="5" y="86"/>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95" name="Freeform 55">
                  <a:extLst>
                    <a:ext uri="{FF2B5EF4-FFF2-40B4-BE49-F238E27FC236}">
                      <a16:creationId xmlns:a16="http://schemas.microsoft.com/office/drawing/2014/main" id="{1EB94399-4268-406F-8838-65EF4D558B08}"/>
                    </a:ext>
                  </a:extLst>
                </p:cNvPr>
                <p:cNvSpPr>
                  <a:spLocks/>
                </p:cNvSpPr>
                <p:nvPr/>
              </p:nvSpPr>
              <p:spPr bwMode="auto">
                <a:xfrm>
                  <a:off x="947738" y="2070100"/>
                  <a:ext cx="38100" cy="33338"/>
                </a:xfrm>
                <a:custGeom>
                  <a:avLst/>
                  <a:gdLst>
                    <a:gd name="T0" fmla="*/ 20 w 121"/>
                    <a:gd name="T1" fmla="*/ 101 h 106"/>
                    <a:gd name="T2" fmla="*/ 22 w 121"/>
                    <a:gd name="T3" fmla="*/ 103 h 106"/>
                    <a:gd name="T4" fmla="*/ 25 w 121"/>
                    <a:gd name="T5" fmla="*/ 105 h 106"/>
                    <a:gd name="T6" fmla="*/ 27 w 121"/>
                    <a:gd name="T7" fmla="*/ 105 h 106"/>
                    <a:gd name="T8" fmla="*/ 30 w 121"/>
                    <a:gd name="T9" fmla="*/ 106 h 106"/>
                    <a:gd name="T10" fmla="*/ 34 w 121"/>
                    <a:gd name="T11" fmla="*/ 105 h 106"/>
                    <a:gd name="T12" fmla="*/ 36 w 121"/>
                    <a:gd name="T13" fmla="*/ 105 h 106"/>
                    <a:gd name="T14" fmla="*/ 39 w 121"/>
                    <a:gd name="T15" fmla="*/ 103 h 106"/>
                    <a:gd name="T16" fmla="*/ 41 w 121"/>
                    <a:gd name="T17" fmla="*/ 102 h 106"/>
                    <a:gd name="T18" fmla="*/ 116 w 121"/>
                    <a:gd name="T19" fmla="*/ 26 h 106"/>
                    <a:gd name="T20" fmla="*/ 119 w 121"/>
                    <a:gd name="T21" fmla="*/ 24 h 106"/>
                    <a:gd name="T22" fmla="*/ 120 w 121"/>
                    <a:gd name="T23" fmla="*/ 21 h 106"/>
                    <a:gd name="T24" fmla="*/ 121 w 121"/>
                    <a:gd name="T25" fmla="*/ 18 h 106"/>
                    <a:gd name="T26" fmla="*/ 121 w 121"/>
                    <a:gd name="T27" fmla="*/ 15 h 106"/>
                    <a:gd name="T28" fmla="*/ 121 w 121"/>
                    <a:gd name="T29" fmla="*/ 13 h 106"/>
                    <a:gd name="T30" fmla="*/ 120 w 121"/>
                    <a:gd name="T31" fmla="*/ 10 h 106"/>
                    <a:gd name="T32" fmla="*/ 119 w 121"/>
                    <a:gd name="T33" fmla="*/ 7 h 106"/>
                    <a:gd name="T34" fmla="*/ 116 w 121"/>
                    <a:gd name="T35" fmla="*/ 5 h 106"/>
                    <a:gd name="T36" fmla="*/ 114 w 121"/>
                    <a:gd name="T37" fmla="*/ 3 h 106"/>
                    <a:gd name="T38" fmla="*/ 111 w 121"/>
                    <a:gd name="T39" fmla="*/ 1 h 106"/>
                    <a:gd name="T40" fmla="*/ 109 w 121"/>
                    <a:gd name="T41" fmla="*/ 1 h 106"/>
                    <a:gd name="T42" fmla="*/ 106 w 121"/>
                    <a:gd name="T43" fmla="*/ 0 h 106"/>
                    <a:gd name="T44" fmla="*/ 103 w 121"/>
                    <a:gd name="T45" fmla="*/ 1 h 106"/>
                    <a:gd name="T46" fmla="*/ 100 w 121"/>
                    <a:gd name="T47" fmla="*/ 1 h 106"/>
                    <a:gd name="T48" fmla="*/ 97 w 121"/>
                    <a:gd name="T49" fmla="*/ 3 h 106"/>
                    <a:gd name="T50" fmla="*/ 95 w 121"/>
                    <a:gd name="T51" fmla="*/ 5 h 106"/>
                    <a:gd name="T52" fmla="*/ 30 w 121"/>
                    <a:gd name="T53" fmla="*/ 70 h 106"/>
                    <a:gd name="T54" fmla="*/ 26 w 121"/>
                    <a:gd name="T55" fmla="*/ 65 h 106"/>
                    <a:gd name="T56" fmla="*/ 24 w 121"/>
                    <a:gd name="T57" fmla="*/ 63 h 106"/>
                    <a:gd name="T58" fmla="*/ 21 w 121"/>
                    <a:gd name="T59" fmla="*/ 61 h 106"/>
                    <a:gd name="T60" fmla="*/ 18 w 121"/>
                    <a:gd name="T61" fmla="*/ 61 h 106"/>
                    <a:gd name="T62" fmla="*/ 15 w 121"/>
                    <a:gd name="T63" fmla="*/ 60 h 106"/>
                    <a:gd name="T64" fmla="*/ 12 w 121"/>
                    <a:gd name="T65" fmla="*/ 61 h 106"/>
                    <a:gd name="T66" fmla="*/ 10 w 121"/>
                    <a:gd name="T67" fmla="*/ 62 h 106"/>
                    <a:gd name="T68" fmla="*/ 7 w 121"/>
                    <a:gd name="T69" fmla="*/ 63 h 106"/>
                    <a:gd name="T70" fmla="*/ 5 w 121"/>
                    <a:gd name="T71" fmla="*/ 65 h 106"/>
                    <a:gd name="T72" fmla="*/ 2 w 121"/>
                    <a:gd name="T73" fmla="*/ 68 h 106"/>
                    <a:gd name="T74" fmla="*/ 1 w 121"/>
                    <a:gd name="T75" fmla="*/ 70 h 106"/>
                    <a:gd name="T76" fmla="*/ 0 w 121"/>
                    <a:gd name="T77" fmla="*/ 73 h 106"/>
                    <a:gd name="T78" fmla="*/ 0 w 121"/>
                    <a:gd name="T79" fmla="*/ 76 h 106"/>
                    <a:gd name="T80" fmla="*/ 0 w 121"/>
                    <a:gd name="T81" fmla="*/ 78 h 106"/>
                    <a:gd name="T82" fmla="*/ 1 w 121"/>
                    <a:gd name="T83" fmla="*/ 82 h 106"/>
                    <a:gd name="T84" fmla="*/ 2 w 121"/>
                    <a:gd name="T85" fmla="*/ 84 h 106"/>
                    <a:gd name="T86" fmla="*/ 5 w 121"/>
                    <a:gd name="T87" fmla="*/ 87 h 106"/>
                    <a:gd name="T88" fmla="*/ 20 w 121"/>
                    <a:gd name="T89" fmla="*/ 101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1" h="106">
                      <a:moveTo>
                        <a:pt x="20" y="101"/>
                      </a:moveTo>
                      <a:lnTo>
                        <a:pt x="22" y="103"/>
                      </a:lnTo>
                      <a:lnTo>
                        <a:pt x="25" y="105"/>
                      </a:lnTo>
                      <a:lnTo>
                        <a:pt x="27" y="105"/>
                      </a:lnTo>
                      <a:lnTo>
                        <a:pt x="30" y="106"/>
                      </a:lnTo>
                      <a:lnTo>
                        <a:pt x="34" y="105"/>
                      </a:lnTo>
                      <a:lnTo>
                        <a:pt x="36" y="105"/>
                      </a:lnTo>
                      <a:lnTo>
                        <a:pt x="39" y="103"/>
                      </a:lnTo>
                      <a:lnTo>
                        <a:pt x="41" y="102"/>
                      </a:lnTo>
                      <a:lnTo>
                        <a:pt x="116" y="26"/>
                      </a:lnTo>
                      <a:lnTo>
                        <a:pt x="119" y="24"/>
                      </a:lnTo>
                      <a:lnTo>
                        <a:pt x="120" y="21"/>
                      </a:lnTo>
                      <a:lnTo>
                        <a:pt x="121" y="18"/>
                      </a:lnTo>
                      <a:lnTo>
                        <a:pt x="121" y="15"/>
                      </a:lnTo>
                      <a:lnTo>
                        <a:pt x="121" y="13"/>
                      </a:lnTo>
                      <a:lnTo>
                        <a:pt x="120" y="10"/>
                      </a:lnTo>
                      <a:lnTo>
                        <a:pt x="119" y="7"/>
                      </a:lnTo>
                      <a:lnTo>
                        <a:pt x="116" y="5"/>
                      </a:lnTo>
                      <a:lnTo>
                        <a:pt x="114" y="3"/>
                      </a:lnTo>
                      <a:lnTo>
                        <a:pt x="111" y="1"/>
                      </a:lnTo>
                      <a:lnTo>
                        <a:pt x="109" y="1"/>
                      </a:lnTo>
                      <a:lnTo>
                        <a:pt x="106" y="0"/>
                      </a:lnTo>
                      <a:lnTo>
                        <a:pt x="103" y="1"/>
                      </a:lnTo>
                      <a:lnTo>
                        <a:pt x="100" y="1"/>
                      </a:lnTo>
                      <a:lnTo>
                        <a:pt x="97" y="3"/>
                      </a:lnTo>
                      <a:lnTo>
                        <a:pt x="95" y="5"/>
                      </a:lnTo>
                      <a:lnTo>
                        <a:pt x="30" y="70"/>
                      </a:lnTo>
                      <a:lnTo>
                        <a:pt x="26" y="65"/>
                      </a:lnTo>
                      <a:lnTo>
                        <a:pt x="24" y="63"/>
                      </a:lnTo>
                      <a:lnTo>
                        <a:pt x="21" y="61"/>
                      </a:lnTo>
                      <a:lnTo>
                        <a:pt x="18" y="61"/>
                      </a:lnTo>
                      <a:lnTo>
                        <a:pt x="15" y="60"/>
                      </a:lnTo>
                      <a:lnTo>
                        <a:pt x="12" y="61"/>
                      </a:lnTo>
                      <a:lnTo>
                        <a:pt x="10" y="62"/>
                      </a:lnTo>
                      <a:lnTo>
                        <a:pt x="7" y="63"/>
                      </a:lnTo>
                      <a:lnTo>
                        <a:pt x="5" y="65"/>
                      </a:lnTo>
                      <a:lnTo>
                        <a:pt x="2" y="68"/>
                      </a:lnTo>
                      <a:lnTo>
                        <a:pt x="1" y="70"/>
                      </a:lnTo>
                      <a:lnTo>
                        <a:pt x="0" y="73"/>
                      </a:lnTo>
                      <a:lnTo>
                        <a:pt x="0" y="76"/>
                      </a:lnTo>
                      <a:lnTo>
                        <a:pt x="0" y="78"/>
                      </a:lnTo>
                      <a:lnTo>
                        <a:pt x="1" y="82"/>
                      </a:lnTo>
                      <a:lnTo>
                        <a:pt x="2" y="84"/>
                      </a:lnTo>
                      <a:lnTo>
                        <a:pt x="5" y="87"/>
                      </a:lnTo>
                      <a:lnTo>
                        <a:pt x="20"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96" name="Freeform 56">
                  <a:extLst>
                    <a:ext uri="{FF2B5EF4-FFF2-40B4-BE49-F238E27FC236}">
                      <a16:creationId xmlns:a16="http://schemas.microsoft.com/office/drawing/2014/main" id="{96CB15B4-0B05-4F90-85F3-BDCC2C0843CC}"/>
                    </a:ext>
                  </a:extLst>
                </p:cNvPr>
                <p:cNvSpPr>
                  <a:spLocks noEditPoints="1"/>
                </p:cNvSpPr>
                <p:nvPr/>
              </p:nvSpPr>
              <p:spPr bwMode="auto">
                <a:xfrm>
                  <a:off x="1104900" y="1993900"/>
                  <a:ext cx="68263" cy="219075"/>
                </a:xfrm>
                <a:custGeom>
                  <a:avLst/>
                  <a:gdLst>
                    <a:gd name="T0" fmla="*/ 120 w 212"/>
                    <a:gd name="T1" fmla="*/ 659 h 694"/>
                    <a:gd name="T2" fmla="*/ 99 w 212"/>
                    <a:gd name="T3" fmla="*/ 643 h 694"/>
                    <a:gd name="T4" fmla="*/ 92 w 212"/>
                    <a:gd name="T5" fmla="*/ 618 h 694"/>
                    <a:gd name="T6" fmla="*/ 181 w 212"/>
                    <a:gd name="T7" fmla="*/ 616 h 694"/>
                    <a:gd name="T8" fmla="*/ 167 w 212"/>
                    <a:gd name="T9" fmla="*/ 647 h 694"/>
                    <a:gd name="T10" fmla="*/ 144 w 212"/>
                    <a:gd name="T11" fmla="*/ 662 h 694"/>
                    <a:gd name="T12" fmla="*/ 145 w 212"/>
                    <a:gd name="T13" fmla="*/ 31 h 694"/>
                    <a:gd name="T14" fmla="*/ 168 w 212"/>
                    <a:gd name="T15" fmla="*/ 43 h 694"/>
                    <a:gd name="T16" fmla="*/ 181 w 212"/>
                    <a:gd name="T17" fmla="*/ 57 h 694"/>
                    <a:gd name="T18" fmla="*/ 92 w 212"/>
                    <a:gd name="T19" fmla="*/ 331 h 694"/>
                    <a:gd name="T20" fmla="*/ 95 w 212"/>
                    <a:gd name="T21" fmla="*/ 53 h 694"/>
                    <a:gd name="T22" fmla="*/ 112 w 212"/>
                    <a:gd name="T23" fmla="*/ 38 h 694"/>
                    <a:gd name="T24" fmla="*/ 137 w 212"/>
                    <a:gd name="T25" fmla="*/ 30 h 694"/>
                    <a:gd name="T26" fmla="*/ 182 w 212"/>
                    <a:gd name="T27" fmla="*/ 362 h 694"/>
                    <a:gd name="T28" fmla="*/ 92 w 212"/>
                    <a:gd name="T29" fmla="*/ 362 h 694"/>
                    <a:gd name="T30" fmla="*/ 113 w 212"/>
                    <a:gd name="T31" fmla="*/ 4 h 694"/>
                    <a:gd name="T32" fmla="*/ 84 w 212"/>
                    <a:gd name="T33" fmla="*/ 22 h 694"/>
                    <a:gd name="T34" fmla="*/ 65 w 212"/>
                    <a:gd name="T35" fmla="*/ 46 h 694"/>
                    <a:gd name="T36" fmla="*/ 36 w 212"/>
                    <a:gd name="T37" fmla="*/ 55 h 694"/>
                    <a:gd name="T38" fmla="*/ 21 w 212"/>
                    <a:gd name="T39" fmla="*/ 67 h 694"/>
                    <a:gd name="T40" fmla="*/ 9 w 212"/>
                    <a:gd name="T41" fmla="*/ 82 h 694"/>
                    <a:gd name="T42" fmla="*/ 2 w 212"/>
                    <a:gd name="T43" fmla="*/ 103 h 694"/>
                    <a:gd name="T44" fmla="*/ 0 w 212"/>
                    <a:gd name="T45" fmla="*/ 394 h 694"/>
                    <a:gd name="T46" fmla="*/ 3 w 212"/>
                    <a:gd name="T47" fmla="*/ 402 h 694"/>
                    <a:gd name="T48" fmla="*/ 10 w 212"/>
                    <a:gd name="T49" fmla="*/ 408 h 694"/>
                    <a:gd name="T50" fmla="*/ 19 w 212"/>
                    <a:gd name="T51" fmla="*/ 409 h 694"/>
                    <a:gd name="T52" fmla="*/ 26 w 212"/>
                    <a:gd name="T53" fmla="*/ 404 h 694"/>
                    <a:gd name="T54" fmla="*/ 30 w 212"/>
                    <a:gd name="T55" fmla="*/ 397 h 694"/>
                    <a:gd name="T56" fmla="*/ 31 w 212"/>
                    <a:gd name="T57" fmla="*/ 111 h 694"/>
                    <a:gd name="T58" fmla="*/ 40 w 212"/>
                    <a:gd name="T59" fmla="*/ 89 h 694"/>
                    <a:gd name="T60" fmla="*/ 55 w 212"/>
                    <a:gd name="T61" fmla="*/ 79 h 694"/>
                    <a:gd name="T62" fmla="*/ 62 w 212"/>
                    <a:gd name="T63" fmla="*/ 626 h 694"/>
                    <a:gd name="T64" fmla="*/ 67 w 212"/>
                    <a:gd name="T65" fmla="*/ 647 h 694"/>
                    <a:gd name="T66" fmla="*/ 79 w 212"/>
                    <a:gd name="T67" fmla="*/ 666 h 694"/>
                    <a:gd name="T68" fmla="*/ 95 w 212"/>
                    <a:gd name="T69" fmla="*/ 681 h 694"/>
                    <a:gd name="T70" fmla="*/ 114 w 212"/>
                    <a:gd name="T71" fmla="*/ 690 h 694"/>
                    <a:gd name="T72" fmla="*/ 137 w 212"/>
                    <a:gd name="T73" fmla="*/ 694 h 694"/>
                    <a:gd name="T74" fmla="*/ 157 w 212"/>
                    <a:gd name="T75" fmla="*/ 690 h 694"/>
                    <a:gd name="T76" fmla="*/ 177 w 212"/>
                    <a:gd name="T77" fmla="*/ 680 h 694"/>
                    <a:gd name="T78" fmla="*/ 193 w 212"/>
                    <a:gd name="T79" fmla="*/ 663 h 694"/>
                    <a:gd name="T80" fmla="*/ 206 w 212"/>
                    <a:gd name="T81" fmla="*/ 641 h 694"/>
                    <a:gd name="T82" fmla="*/ 211 w 212"/>
                    <a:gd name="T83" fmla="*/ 613 h 694"/>
                    <a:gd name="T84" fmla="*/ 211 w 212"/>
                    <a:gd name="T85" fmla="*/ 56 h 694"/>
                    <a:gd name="T86" fmla="*/ 206 w 212"/>
                    <a:gd name="T87" fmla="*/ 41 h 694"/>
                    <a:gd name="T88" fmla="*/ 177 w 212"/>
                    <a:gd name="T89" fmla="*/ 13 h 694"/>
                    <a:gd name="T90" fmla="*/ 151 w 212"/>
                    <a:gd name="T91" fmla="*/ 2 h 694"/>
                    <a:gd name="T92" fmla="*/ 137 w 212"/>
                    <a:gd name="T93" fmla="*/ 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2" h="694">
                      <a:moveTo>
                        <a:pt x="137" y="663"/>
                      </a:moveTo>
                      <a:lnTo>
                        <a:pt x="128" y="662"/>
                      </a:lnTo>
                      <a:lnTo>
                        <a:pt x="120" y="659"/>
                      </a:lnTo>
                      <a:lnTo>
                        <a:pt x="112" y="655"/>
                      </a:lnTo>
                      <a:lnTo>
                        <a:pt x="105" y="650"/>
                      </a:lnTo>
                      <a:lnTo>
                        <a:pt x="99" y="643"/>
                      </a:lnTo>
                      <a:lnTo>
                        <a:pt x="95" y="636"/>
                      </a:lnTo>
                      <a:lnTo>
                        <a:pt x="92" y="627"/>
                      </a:lnTo>
                      <a:lnTo>
                        <a:pt x="92" y="618"/>
                      </a:lnTo>
                      <a:lnTo>
                        <a:pt x="92" y="603"/>
                      </a:lnTo>
                      <a:lnTo>
                        <a:pt x="182" y="603"/>
                      </a:lnTo>
                      <a:lnTo>
                        <a:pt x="181" y="616"/>
                      </a:lnTo>
                      <a:lnTo>
                        <a:pt x="178" y="628"/>
                      </a:lnTo>
                      <a:lnTo>
                        <a:pt x="173" y="639"/>
                      </a:lnTo>
                      <a:lnTo>
                        <a:pt x="167" y="647"/>
                      </a:lnTo>
                      <a:lnTo>
                        <a:pt x="161" y="654"/>
                      </a:lnTo>
                      <a:lnTo>
                        <a:pt x="153" y="659"/>
                      </a:lnTo>
                      <a:lnTo>
                        <a:pt x="144" y="662"/>
                      </a:lnTo>
                      <a:lnTo>
                        <a:pt x="137" y="663"/>
                      </a:lnTo>
                      <a:close/>
                      <a:moveTo>
                        <a:pt x="137" y="30"/>
                      </a:moveTo>
                      <a:lnTo>
                        <a:pt x="145" y="31"/>
                      </a:lnTo>
                      <a:lnTo>
                        <a:pt x="153" y="34"/>
                      </a:lnTo>
                      <a:lnTo>
                        <a:pt x="161" y="38"/>
                      </a:lnTo>
                      <a:lnTo>
                        <a:pt x="168" y="43"/>
                      </a:lnTo>
                      <a:lnTo>
                        <a:pt x="173" y="47"/>
                      </a:lnTo>
                      <a:lnTo>
                        <a:pt x="178" y="53"/>
                      </a:lnTo>
                      <a:lnTo>
                        <a:pt x="181" y="57"/>
                      </a:lnTo>
                      <a:lnTo>
                        <a:pt x="182" y="60"/>
                      </a:lnTo>
                      <a:lnTo>
                        <a:pt x="182" y="331"/>
                      </a:lnTo>
                      <a:lnTo>
                        <a:pt x="92" y="331"/>
                      </a:lnTo>
                      <a:lnTo>
                        <a:pt x="92" y="60"/>
                      </a:lnTo>
                      <a:lnTo>
                        <a:pt x="93" y="57"/>
                      </a:lnTo>
                      <a:lnTo>
                        <a:pt x="95" y="53"/>
                      </a:lnTo>
                      <a:lnTo>
                        <a:pt x="99" y="48"/>
                      </a:lnTo>
                      <a:lnTo>
                        <a:pt x="106" y="43"/>
                      </a:lnTo>
                      <a:lnTo>
                        <a:pt x="112" y="38"/>
                      </a:lnTo>
                      <a:lnTo>
                        <a:pt x="120" y="34"/>
                      </a:lnTo>
                      <a:lnTo>
                        <a:pt x="127" y="31"/>
                      </a:lnTo>
                      <a:lnTo>
                        <a:pt x="137" y="30"/>
                      </a:lnTo>
                      <a:lnTo>
                        <a:pt x="137" y="30"/>
                      </a:lnTo>
                      <a:close/>
                      <a:moveTo>
                        <a:pt x="92" y="362"/>
                      </a:moveTo>
                      <a:lnTo>
                        <a:pt x="182" y="362"/>
                      </a:lnTo>
                      <a:lnTo>
                        <a:pt x="182" y="573"/>
                      </a:lnTo>
                      <a:lnTo>
                        <a:pt x="92" y="573"/>
                      </a:lnTo>
                      <a:lnTo>
                        <a:pt x="92" y="362"/>
                      </a:lnTo>
                      <a:close/>
                      <a:moveTo>
                        <a:pt x="137" y="0"/>
                      </a:moveTo>
                      <a:lnTo>
                        <a:pt x="125" y="1"/>
                      </a:lnTo>
                      <a:lnTo>
                        <a:pt x="113" y="4"/>
                      </a:lnTo>
                      <a:lnTo>
                        <a:pt x="102" y="9"/>
                      </a:lnTo>
                      <a:lnTo>
                        <a:pt x="93" y="15"/>
                      </a:lnTo>
                      <a:lnTo>
                        <a:pt x="84" y="22"/>
                      </a:lnTo>
                      <a:lnTo>
                        <a:pt x="76" y="29"/>
                      </a:lnTo>
                      <a:lnTo>
                        <a:pt x="69" y="38"/>
                      </a:lnTo>
                      <a:lnTo>
                        <a:pt x="65" y="46"/>
                      </a:lnTo>
                      <a:lnTo>
                        <a:pt x="53" y="48"/>
                      </a:lnTo>
                      <a:lnTo>
                        <a:pt x="41" y="53"/>
                      </a:lnTo>
                      <a:lnTo>
                        <a:pt x="36" y="55"/>
                      </a:lnTo>
                      <a:lnTo>
                        <a:pt x="30" y="58"/>
                      </a:lnTo>
                      <a:lnTo>
                        <a:pt x="25" y="62"/>
                      </a:lnTo>
                      <a:lnTo>
                        <a:pt x="21" y="67"/>
                      </a:lnTo>
                      <a:lnTo>
                        <a:pt x="16" y="71"/>
                      </a:lnTo>
                      <a:lnTo>
                        <a:pt x="12" y="76"/>
                      </a:lnTo>
                      <a:lnTo>
                        <a:pt x="9" y="82"/>
                      </a:lnTo>
                      <a:lnTo>
                        <a:pt x="6" y="88"/>
                      </a:lnTo>
                      <a:lnTo>
                        <a:pt x="3" y="96"/>
                      </a:lnTo>
                      <a:lnTo>
                        <a:pt x="2" y="103"/>
                      </a:lnTo>
                      <a:lnTo>
                        <a:pt x="1" y="112"/>
                      </a:lnTo>
                      <a:lnTo>
                        <a:pt x="0" y="120"/>
                      </a:lnTo>
                      <a:lnTo>
                        <a:pt x="0" y="394"/>
                      </a:lnTo>
                      <a:lnTo>
                        <a:pt x="1" y="397"/>
                      </a:lnTo>
                      <a:lnTo>
                        <a:pt x="2" y="399"/>
                      </a:lnTo>
                      <a:lnTo>
                        <a:pt x="3" y="402"/>
                      </a:lnTo>
                      <a:lnTo>
                        <a:pt x="6" y="404"/>
                      </a:lnTo>
                      <a:lnTo>
                        <a:pt x="8" y="406"/>
                      </a:lnTo>
                      <a:lnTo>
                        <a:pt x="10" y="408"/>
                      </a:lnTo>
                      <a:lnTo>
                        <a:pt x="13" y="409"/>
                      </a:lnTo>
                      <a:lnTo>
                        <a:pt x="15" y="409"/>
                      </a:lnTo>
                      <a:lnTo>
                        <a:pt x="19" y="409"/>
                      </a:lnTo>
                      <a:lnTo>
                        <a:pt x="22" y="408"/>
                      </a:lnTo>
                      <a:lnTo>
                        <a:pt x="24" y="406"/>
                      </a:lnTo>
                      <a:lnTo>
                        <a:pt x="26" y="404"/>
                      </a:lnTo>
                      <a:lnTo>
                        <a:pt x="28" y="402"/>
                      </a:lnTo>
                      <a:lnTo>
                        <a:pt x="29" y="399"/>
                      </a:lnTo>
                      <a:lnTo>
                        <a:pt x="30" y="397"/>
                      </a:lnTo>
                      <a:lnTo>
                        <a:pt x="30" y="394"/>
                      </a:lnTo>
                      <a:lnTo>
                        <a:pt x="30" y="120"/>
                      </a:lnTo>
                      <a:lnTo>
                        <a:pt x="31" y="111"/>
                      </a:lnTo>
                      <a:lnTo>
                        <a:pt x="34" y="102"/>
                      </a:lnTo>
                      <a:lnTo>
                        <a:pt x="36" y="96"/>
                      </a:lnTo>
                      <a:lnTo>
                        <a:pt x="40" y="89"/>
                      </a:lnTo>
                      <a:lnTo>
                        <a:pt x="44" y="85"/>
                      </a:lnTo>
                      <a:lnTo>
                        <a:pt x="50" y="82"/>
                      </a:lnTo>
                      <a:lnTo>
                        <a:pt x="55" y="79"/>
                      </a:lnTo>
                      <a:lnTo>
                        <a:pt x="62" y="77"/>
                      </a:lnTo>
                      <a:lnTo>
                        <a:pt x="62" y="618"/>
                      </a:lnTo>
                      <a:lnTo>
                        <a:pt x="62" y="626"/>
                      </a:lnTo>
                      <a:lnTo>
                        <a:pt x="63" y="633"/>
                      </a:lnTo>
                      <a:lnTo>
                        <a:pt x="65" y="640"/>
                      </a:lnTo>
                      <a:lnTo>
                        <a:pt x="67" y="647"/>
                      </a:lnTo>
                      <a:lnTo>
                        <a:pt x="70" y="654"/>
                      </a:lnTo>
                      <a:lnTo>
                        <a:pt x="74" y="660"/>
                      </a:lnTo>
                      <a:lnTo>
                        <a:pt x="79" y="666"/>
                      </a:lnTo>
                      <a:lnTo>
                        <a:pt x="84" y="671"/>
                      </a:lnTo>
                      <a:lnTo>
                        <a:pt x="90" y="676"/>
                      </a:lnTo>
                      <a:lnTo>
                        <a:pt x="95" y="681"/>
                      </a:lnTo>
                      <a:lnTo>
                        <a:pt x="101" y="684"/>
                      </a:lnTo>
                      <a:lnTo>
                        <a:pt x="108" y="687"/>
                      </a:lnTo>
                      <a:lnTo>
                        <a:pt x="114" y="690"/>
                      </a:lnTo>
                      <a:lnTo>
                        <a:pt x="122" y="693"/>
                      </a:lnTo>
                      <a:lnTo>
                        <a:pt x="129" y="694"/>
                      </a:lnTo>
                      <a:lnTo>
                        <a:pt x="137" y="694"/>
                      </a:lnTo>
                      <a:lnTo>
                        <a:pt x="143" y="694"/>
                      </a:lnTo>
                      <a:lnTo>
                        <a:pt x="150" y="693"/>
                      </a:lnTo>
                      <a:lnTo>
                        <a:pt x="157" y="690"/>
                      </a:lnTo>
                      <a:lnTo>
                        <a:pt x="164" y="687"/>
                      </a:lnTo>
                      <a:lnTo>
                        <a:pt x="170" y="684"/>
                      </a:lnTo>
                      <a:lnTo>
                        <a:pt x="177" y="680"/>
                      </a:lnTo>
                      <a:lnTo>
                        <a:pt x="182" y="675"/>
                      </a:lnTo>
                      <a:lnTo>
                        <a:pt x="187" y="669"/>
                      </a:lnTo>
                      <a:lnTo>
                        <a:pt x="193" y="663"/>
                      </a:lnTo>
                      <a:lnTo>
                        <a:pt x="197" y="656"/>
                      </a:lnTo>
                      <a:lnTo>
                        <a:pt x="201" y="648"/>
                      </a:lnTo>
                      <a:lnTo>
                        <a:pt x="206" y="641"/>
                      </a:lnTo>
                      <a:lnTo>
                        <a:pt x="208" y="632"/>
                      </a:lnTo>
                      <a:lnTo>
                        <a:pt x="210" y="623"/>
                      </a:lnTo>
                      <a:lnTo>
                        <a:pt x="211" y="613"/>
                      </a:lnTo>
                      <a:lnTo>
                        <a:pt x="212" y="603"/>
                      </a:lnTo>
                      <a:lnTo>
                        <a:pt x="212" y="60"/>
                      </a:lnTo>
                      <a:lnTo>
                        <a:pt x="211" y="56"/>
                      </a:lnTo>
                      <a:lnTo>
                        <a:pt x="210" y="51"/>
                      </a:lnTo>
                      <a:lnTo>
                        <a:pt x="208" y="45"/>
                      </a:lnTo>
                      <a:lnTo>
                        <a:pt x="206" y="41"/>
                      </a:lnTo>
                      <a:lnTo>
                        <a:pt x="198" y="30"/>
                      </a:lnTo>
                      <a:lnTo>
                        <a:pt x="188" y="20"/>
                      </a:lnTo>
                      <a:lnTo>
                        <a:pt x="177" y="13"/>
                      </a:lnTo>
                      <a:lnTo>
                        <a:pt x="164" y="6"/>
                      </a:lnTo>
                      <a:lnTo>
                        <a:pt x="157" y="3"/>
                      </a:lnTo>
                      <a:lnTo>
                        <a:pt x="151" y="2"/>
                      </a:lnTo>
                      <a:lnTo>
                        <a:pt x="143" y="1"/>
                      </a:lnTo>
                      <a:lnTo>
                        <a:pt x="137" y="0"/>
                      </a:lnTo>
                      <a:lnTo>
                        <a:pt x="1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sp>
            <p:nvSpPr>
              <p:cNvPr id="30" name="TextBox 29">
                <a:extLst>
                  <a:ext uri="{FF2B5EF4-FFF2-40B4-BE49-F238E27FC236}">
                    <a16:creationId xmlns:a16="http://schemas.microsoft.com/office/drawing/2014/main" id="{4D1BF8A5-9A43-4CAA-A4ED-5C50D32B2D7C}"/>
                  </a:ext>
                </a:extLst>
              </p:cNvPr>
              <p:cNvSpPr txBox="1"/>
              <p:nvPr/>
            </p:nvSpPr>
            <p:spPr>
              <a:xfrm>
                <a:off x="5044661" y="4639233"/>
                <a:ext cx="6239044" cy="701664"/>
              </a:xfrm>
              <a:prstGeom prst="rect">
                <a:avLst/>
              </a:prstGeom>
              <a:noFill/>
            </p:spPr>
            <p:txBody>
              <a:bodyPr wrap="square" lIns="0" tIns="0" rIns="0" bIns="0" rtlCol="0" anchor="ctr">
                <a:spAutoFit/>
              </a:bodyPr>
              <a:lstStyle>
                <a:defPPr>
                  <a:defRPr lang="en-US"/>
                </a:defPPr>
                <a:lvl1pPr marL="457200" indent="-274320">
                  <a:buClr>
                    <a:schemeClr val="accent4"/>
                  </a:buClr>
                  <a:buFont typeface="Arial" panose="020B0604020202020204" pitchFamily="34" charset="0"/>
                  <a:buChar char="›"/>
                  <a:defRPr sz="1200"/>
                </a:lvl1pPr>
              </a:lstStyle>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All letters are reviewed and approved by the Department prior to mailing</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Providers will receive a Notice of Adverse Action, Overpayment Determination letter or No Overpayment Found letter via Certified mail </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Findings and recommendations for proper payment of the claim are shared with </a:t>
                </a:r>
                <a:r>
                  <a:rPr lang="en-US" sz="1400" dirty="0">
                    <a:solidFill>
                      <a:srgbClr val="68767E"/>
                    </a:solidFill>
                  </a:rPr>
                  <a:t>and approved by the Department prior to mailing</a:t>
                </a: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endParaRPr lang="en-US" sz="1400" dirty="0">
                  <a:solidFill>
                    <a:srgbClr val="68767E"/>
                  </a:solidFill>
                </a:endParaRPr>
              </a:p>
            </p:txBody>
          </p:sp>
          <p:sp>
            <p:nvSpPr>
              <p:cNvPr id="32" name="Rectangle: Top Corners Rounded 31">
                <a:extLst>
                  <a:ext uri="{FF2B5EF4-FFF2-40B4-BE49-F238E27FC236}">
                    <a16:creationId xmlns:a16="http://schemas.microsoft.com/office/drawing/2014/main" id="{ABF25E46-AEED-461D-AB27-F625F921FB89}"/>
                  </a:ext>
                </a:extLst>
              </p:cNvPr>
              <p:cNvSpPr/>
              <p:nvPr/>
            </p:nvSpPr>
            <p:spPr>
              <a:xfrm rot="5400000">
                <a:off x="2556698" y="2868947"/>
                <a:ext cx="731146" cy="4168143"/>
              </a:xfrm>
              <a:prstGeom prst="round2SameRect">
                <a:avLst>
                  <a:gd name="adj1" fmla="val 50000"/>
                  <a:gd name="adj2" fmla="val 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A957B913-DF80-4F33-B158-C6D1C3B88C99}"/>
                  </a:ext>
                </a:extLst>
              </p:cNvPr>
              <p:cNvSpPr txBox="1"/>
              <p:nvPr/>
            </p:nvSpPr>
            <p:spPr>
              <a:xfrm>
                <a:off x="1126780" y="4846135"/>
                <a:ext cx="3078581" cy="246221"/>
              </a:xfrm>
              <a:prstGeom prst="rect">
                <a:avLst/>
              </a:prstGeom>
              <a:noFill/>
            </p:spPr>
            <p:txBody>
              <a:bodyPr wrap="square" lIns="0" tIns="0" rIns="0" bIns="0" rtlCol="0" anchor="ct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charset="0"/>
                    <a:ea typeface="+mn-ea"/>
                    <a:cs typeface="+mn-cs"/>
                  </a:rPr>
                  <a:t>Notification and Recovery</a:t>
                </a:r>
              </a:p>
            </p:txBody>
          </p:sp>
          <p:sp>
            <p:nvSpPr>
              <p:cNvPr id="34" name="Rectangle: Rounded Corners 33">
                <a:extLst>
                  <a:ext uri="{FF2B5EF4-FFF2-40B4-BE49-F238E27FC236}">
                    <a16:creationId xmlns:a16="http://schemas.microsoft.com/office/drawing/2014/main" id="{32DA10FA-8276-4C20-B4C6-717380DFA54B}"/>
                  </a:ext>
                </a:extLst>
              </p:cNvPr>
              <p:cNvSpPr/>
              <p:nvPr/>
            </p:nvSpPr>
            <p:spPr>
              <a:xfrm>
                <a:off x="4350888" y="4669665"/>
                <a:ext cx="568776" cy="566704"/>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nvGrpSpPr>
              <p:cNvPr id="98" name="Group 97">
                <a:extLst>
                  <a:ext uri="{FF2B5EF4-FFF2-40B4-BE49-F238E27FC236}">
                    <a16:creationId xmlns:a16="http://schemas.microsoft.com/office/drawing/2014/main" id="{333E885F-486A-43BE-9089-013C572AF173}"/>
                  </a:ext>
                </a:extLst>
              </p:cNvPr>
              <p:cNvGrpSpPr/>
              <p:nvPr/>
            </p:nvGrpSpPr>
            <p:grpSpPr>
              <a:xfrm>
                <a:off x="4523666" y="4801832"/>
                <a:ext cx="223220" cy="334830"/>
                <a:chOff x="3240088" y="1935163"/>
                <a:chExt cx="190500" cy="285750"/>
              </a:xfrm>
              <a:solidFill>
                <a:schemeClr val="bg1"/>
              </a:solidFill>
            </p:grpSpPr>
            <p:sp>
              <p:nvSpPr>
                <p:cNvPr id="99" name="Freeform 219">
                  <a:extLst>
                    <a:ext uri="{FF2B5EF4-FFF2-40B4-BE49-F238E27FC236}">
                      <a16:creationId xmlns:a16="http://schemas.microsoft.com/office/drawing/2014/main" id="{D4402F35-9B70-4EDB-B924-93585BDFCC44}"/>
                    </a:ext>
                  </a:extLst>
                </p:cNvPr>
                <p:cNvSpPr>
                  <a:spLocks/>
                </p:cNvSpPr>
                <p:nvPr/>
              </p:nvSpPr>
              <p:spPr bwMode="auto">
                <a:xfrm>
                  <a:off x="3249613" y="2020888"/>
                  <a:ext cx="180975" cy="200025"/>
                </a:xfrm>
                <a:custGeom>
                  <a:avLst/>
                  <a:gdLst>
                    <a:gd name="T0" fmla="*/ 481 w 571"/>
                    <a:gd name="T1" fmla="*/ 316 h 632"/>
                    <a:gd name="T2" fmla="*/ 474 w 571"/>
                    <a:gd name="T3" fmla="*/ 274 h 632"/>
                    <a:gd name="T4" fmla="*/ 456 w 571"/>
                    <a:gd name="T5" fmla="*/ 238 h 632"/>
                    <a:gd name="T6" fmla="*/ 428 w 571"/>
                    <a:gd name="T7" fmla="*/ 202 h 632"/>
                    <a:gd name="T8" fmla="*/ 393 w 571"/>
                    <a:gd name="T9" fmla="*/ 170 h 632"/>
                    <a:gd name="T10" fmla="*/ 330 w 571"/>
                    <a:gd name="T11" fmla="*/ 119 h 632"/>
                    <a:gd name="T12" fmla="*/ 329 w 571"/>
                    <a:gd name="T13" fmla="*/ 48 h 632"/>
                    <a:gd name="T14" fmla="*/ 324 w 571"/>
                    <a:gd name="T15" fmla="*/ 31 h 632"/>
                    <a:gd name="T16" fmla="*/ 313 w 571"/>
                    <a:gd name="T17" fmla="*/ 18 h 632"/>
                    <a:gd name="T18" fmla="*/ 299 w 571"/>
                    <a:gd name="T19" fmla="*/ 7 h 632"/>
                    <a:gd name="T20" fmla="*/ 283 w 571"/>
                    <a:gd name="T21" fmla="*/ 1 h 632"/>
                    <a:gd name="T22" fmla="*/ 60 w 571"/>
                    <a:gd name="T23" fmla="*/ 0 h 632"/>
                    <a:gd name="T24" fmla="*/ 42 w 571"/>
                    <a:gd name="T25" fmla="*/ 3 h 632"/>
                    <a:gd name="T26" fmla="*/ 26 w 571"/>
                    <a:gd name="T27" fmla="*/ 10 h 632"/>
                    <a:gd name="T28" fmla="*/ 13 w 571"/>
                    <a:gd name="T29" fmla="*/ 22 h 632"/>
                    <a:gd name="T30" fmla="*/ 4 w 571"/>
                    <a:gd name="T31" fmla="*/ 36 h 632"/>
                    <a:gd name="T32" fmla="*/ 0 w 571"/>
                    <a:gd name="T33" fmla="*/ 54 h 632"/>
                    <a:gd name="T34" fmla="*/ 0 w 571"/>
                    <a:gd name="T35" fmla="*/ 458 h 632"/>
                    <a:gd name="T36" fmla="*/ 4 w 571"/>
                    <a:gd name="T37" fmla="*/ 475 h 632"/>
                    <a:gd name="T38" fmla="*/ 13 w 571"/>
                    <a:gd name="T39" fmla="*/ 490 h 632"/>
                    <a:gd name="T40" fmla="*/ 26 w 571"/>
                    <a:gd name="T41" fmla="*/ 501 h 632"/>
                    <a:gd name="T42" fmla="*/ 42 w 571"/>
                    <a:gd name="T43" fmla="*/ 509 h 632"/>
                    <a:gd name="T44" fmla="*/ 60 w 571"/>
                    <a:gd name="T45" fmla="*/ 511 h 632"/>
                    <a:gd name="T46" fmla="*/ 216 w 571"/>
                    <a:gd name="T47" fmla="*/ 510 h 632"/>
                    <a:gd name="T48" fmla="*/ 223 w 571"/>
                    <a:gd name="T49" fmla="*/ 505 h 632"/>
                    <a:gd name="T50" fmla="*/ 225 w 571"/>
                    <a:gd name="T51" fmla="*/ 496 h 632"/>
                    <a:gd name="T52" fmla="*/ 223 w 571"/>
                    <a:gd name="T53" fmla="*/ 488 h 632"/>
                    <a:gd name="T54" fmla="*/ 216 w 571"/>
                    <a:gd name="T55" fmla="*/ 482 h 632"/>
                    <a:gd name="T56" fmla="*/ 60 w 571"/>
                    <a:gd name="T57" fmla="*/ 481 h 632"/>
                    <a:gd name="T58" fmla="*/ 43 w 571"/>
                    <a:gd name="T59" fmla="*/ 476 h 632"/>
                    <a:gd name="T60" fmla="*/ 32 w 571"/>
                    <a:gd name="T61" fmla="*/ 463 h 632"/>
                    <a:gd name="T62" fmla="*/ 30 w 571"/>
                    <a:gd name="T63" fmla="*/ 60 h 632"/>
                    <a:gd name="T64" fmla="*/ 34 w 571"/>
                    <a:gd name="T65" fmla="*/ 43 h 632"/>
                    <a:gd name="T66" fmla="*/ 48 w 571"/>
                    <a:gd name="T67" fmla="*/ 32 h 632"/>
                    <a:gd name="T68" fmla="*/ 270 w 571"/>
                    <a:gd name="T69" fmla="*/ 30 h 632"/>
                    <a:gd name="T70" fmla="*/ 287 w 571"/>
                    <a:gd name="T71" fmla="*/ 35 h 632"/>
                    <a:gd name="T72" fmla="*/ 298 w 571"/>
                    <a:gd name="T73" fmla="*/ 48 h 632"/>
                    <a:gd name="T74" fmla="*/ 300 w 571"/>
                    <a:gd name="T75" fmla="*/ 195 h 632"/>
                    <a:gd name="T76" fmla="*/ 303 w 571"/>
                    <a:gd name="T77" fmla="*/ 203 h 632"/>
                    <a:gd name="T78" fmla="*/ 310 w 571"/>
                    <a:gd name="T79" fmla="*/ 209 h 632"/>
                    <a:gd name="T80" fmla="*/ 318 w 571"/>
                    <a:gd name="T81" fmla="*/ 210 h 632"/>
                    <a:gd name="T82" fmla="*/ 326 w 571"/>
                    <a:gd name="T83" fmla="*/ 205 h 632"/>
                    <a:gd name="T84" fmla="*/ 330 w 571"/>
                    <a:gd name="T85" fmla="*/ 198 h 632"/>
                    <a:gd name="T86" fmla="*/ 354 w 571"/>
                    <a:gd name="T87" fmla="*/ 176 h 632"/>
                    <a:gd name="T88" fmla="*/ 415 w 571"/>
                    <a:gd name="T89" fmla="*/ 233 h 632"/>
                    <a:gd name="T90" fmla="*/ 435 w 571"/>
                    <a:gd name="T91" fmla="*/ 262 h 632"/>
                    <a:gd name="T92" fmla="*/ 448 w 571"/>
                    <a:gd name="T93" fmla="*/ 293 h 632"/>
                    <a:gd name="T94" fmla="*/ 451 w 571"/>
                    <a:gd name="T95" fmla="*/ 481 h 632"/>
                    <a:gd name="T96" fmla="*/ 544 w 571"/>
                    <a:gd name="T97" fmla="*/ 625 h 632"/>
                    <a:gd name="T98" fmla="*/ 553 w 571"/>
                    <a:gd name="T99" fmla="*/ 631 h 632"/>
                    <a:gd name="T100" fmla="*/ 565 w 571"/>
                    <a:gd name="T101" fmla="*/ 629 h 632"/>
                    <a:gd name="T102" fmla="*/ 570 w 571"/>
                    <a:gd name="T103" fmla="*/ 623 h 632"/>
                    <a:gd name="T104" fmla="*/ 571 w 571"/>
                    <a:gd name="T105" fmla="*/ 614 h 632"/>
                    <a:gd name="T106" fmla="*/ 569 w 571"/>
                    <a:gd name="T107" fmla="*/ 609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1" h="632">
                      <a:moveTo>
                        <a:pt x="569" y="609"/>
                      </a:moveTo>
                      <a:lnTo>
                        <a:pt x="481" y="477"/>
                      </a:lnTo>
                      <a:lnTo>
                        <a:pt x="481" y="316"/>
                      </a:lnTo>
                      <a:lnTo>
                        <a:pt x="480" y="302"/>
                      </a:lnTo>
                      <a:lnTo>
                        <a:pt x="478" y="288"/>
                      </a:lnTo>
                      <a:lnTo>
                        <a:pt x="474" y="274"/>
                      </a:lnTo>
                      <a:lnTo>
                        <a:pt x="470" y="261"/>
                      </a:lnTo>
                      <a:lnTo>
                        <a:pt x="463" y="249"/>
                      </a:lnTo>
                      <a:lnTo>
                        <a:pt x="456" y="238"/>
                      </a:lnTo>
                      <a:lnTo>
                        <a:pt x="447" y="226"/>
                      </a:lnTo>
                      <a:lnTo>
                        <a:pt x="438" y="214"/>
                      </a:lnTo>
                      <a:lnTo>
                        <a:pt x="428" y="202"/>
                      </a:lnTo>
                      <a:lnTo>
                        <a:pt x="417" y="192"/>
                      </a:lnTo>
                      <a:lnTo>
                        <a:pt x="405" y="181"/>
                      </a:lnTo>
                      <a:lnTo>
                        <a:pt x="393" y="170"/>
                      </a:lnTo>
                      <a:lnTo>
                        <a:pt x="368" y="149"/>
                      </a:lnTo>
                      <a:lnTo>
                        <a:pt x="341" y="127"/>
                      </a:lnTo>
                      <a:lnTo>
                        <a:pt x="330" y="119"/>
                      </a:lnTo>
                      <a:lnTo>
                        <a:pt x="330" y="60"/>
                      </a:lnTo>
                      <a:lnTo>
                        <a:pt x="330" y="53"/>
                      </a:lnTo>
                      <a:lnTo>
                        <a:pt x="329" y="48"/>
                      </a:lnTo>
                      <a:lnTo>
                        <a:pt x="328" y="42"/>
                      </a:lnTo>
                      <a:lnTo>
                        <a:pt x="326" y="36"/>
                      </a:lnTo>
                      <a:lnTo>
                        <a:pt x="324" y="31"/>
                      </a:lnTo>
                      <a:lnTo>
                        <a:pt x="321" y="26"/>
                      </a:lnTo>
                      <a:lnTo>
                        <a:pt x="317" y="22"/>
                      </a:lnTo>
                      <a:lnTo>
                        <a:pt x="313" y="18"/>
                      </a:lnTo>
                      <a:lnTo>
                        <a:pt x="309" y="13"/>
                      </a:lnTo>
                      <a:lnTo>
                        <a:pt x="304" y="10"/>
                      </a:lnTo>
                      <a:lnTo>
                        <a:pt x="299" y="7"/>
                      </a:lnTo>
                      <a:lnTo>
                        <a:pt x="294" y="5"/>
                      </a:lnTo>
                      <a:lnTo>
                        <a:pt x="288" y="3"/>
                      </a:lnTo>
                      <a:lnTo>
                        <a:pt x="283" y="1"/>
                      </a:lnTo>
                      <a:lnTo>
                        <a:pt x="277" y="0"/>
                      </a:lnTo>
                      <a:lnTo>
                        <a:pt x="270" y="0"/>
                      </a:lnTo>
                      <a:lnTo>
                        <a:pt x="60" y="0"/>
                      </a:lnTo>
                      <a:lnTo>
                        <a:pt x="53" y="0"/>
                      </a:lnTo>
                      <a:lnTo>
                        <a:pt x="47" y="1"/>
                      </a:lnTo>
                      <a:lnTo>
                        <a:pt x="42" y="3"/>
                      </a:lnTo>
                      <a:lnTo>
                        <a:pt x="36" y="5"/>
                      </a:lnTo>
                      <a:lnTo>
                        <a:pt x="31" y="7"/>
                      </a:lnTo>
                      <a:lnTo>
                        <a:pt x="26" y="10"/>
                      </a:lnTo>
                      <a:lnTo>
                        <a:pt x="21" y="13"/>
                      </a:lnTo>
                      <a:lnTo>
                        <a:pt x="17" y="18"/>
                      </a:lnTo>
                      <a:lnTo>
                        <a:pt x="13" y="22"/>
                      </a:lnTo>
                      <a:lnTo>
                        <a:pt x="9" y="26"/>
                      </a:lnTo>
                      <a:lnTo>
                        <a:pt x="6" y="32"/>
                      </a:lnTo>
                      <a:lnTo>
                        <a:pt x="4" y="36"/>
                      </a:lnTo>
                      <a:lnTo>
                        <a:pt x="2" y="42"/>
                      </a:lnTo>
                      <a:lnTo>
                        <a:pt x="1" y="48"/>
                      </a:lnTo>
                      <a:lnTo>
                        <a:pt x="0" y="54"/>
                      </a:lnTo>
                      <a:lnTo>
                        <a:pt x="0" y="60"/>
                      </a:lnTo>
                      <a:lnTo>
                        <a:pt x="0" y="451"/>
                      </a:lnTo>
                      <a:lnTo>
                        <a:pt x="0" y="458"/>
                      </a:lnTo>
                      <a:lnTo>
                        <a:pt x="1" y="463"/>
                      </a:lnTo>
                      <a:lnTo>
                        <a:pt x="2" y="469"/>
                      </a:lnTo>
                      <a:lnTo>
                        <a:pt x="4" y="475"/>
                      </a:lnTo>
                      <a:lnTo>
                        <a:pt x="6" y="480"/>
                      </a:lnTo>
                      <a:lnTo>
                        <a:pt x="9" y="484"/>
                      </a:lnTo>
                      <a:lnTo>
                        <a:pt x="13" y="490"/>
                      </a:lnTo>
                      <a:lnTo>
                        <a:pt x="17" y="494"/>
                      </a:lnTo>
                      <a:lnTo>
                        <a:pt x="21" y="497"/>
                      </a:lnTo>
                      <a:lnTo>
                        <a:pt x="26" y="501"/>
                      </a:lnTo>
                      <a:lnTo>
                        <a:pt x="31" y="505"/>
                      </a:lnTo>
                      <a:lnTo>
                        <a:pt x="36" y="507"/>
                      </a:lnTo>
                      <a:lnTo>
                        <a:pt x="42" y="509"/>
                      </a:lnTo>
                      <a:lnTo>
                        <a:pt x="47" y="510"/>
                      </a:lnTo>
                      <a:lnTo>
                        <a:pt x="53" y="511"/>
                      </a:lnTo>
                      <a:lnTo>
                        <a:pt x="60" y="511"/>
                      </a:lnTo>
                      <a:lnTo>
                        <a:pt x="210" y="511"/>
                      </a:lnTo>
                      <a:lnTo>
                        <a:pt x="213" y="511"/>
                      </a:lnTo>
                      <a:lnTo>
                        <a:pt x="216" y="510"/>
                      </a:lnTo>
                      <a:lnTo>
                        <a:pt x="219" y="509"/>
                      </a:lnTo>
                      <a:lnTo>
                        <a:pt x="221" y="507"/>
                      </a:lnTo>
                      <a:lnTo>
                        <a:pt x="223" y="505"/>
                      </a:lnTo>
                      <a:lnTo>
                        <a:pt x="224" y="503"/>
                      </a:lnTo>
                      <a:lnTo>
                        <a:pt x="225" y="499"/>
                      </a:lnTo>
                      <a:lnTo>
                        <a:pt x="225" y="496"/>
                      </a:lnTo>
                      <a:lnTo>
                        <a:pt x="225" y="493"/>
                      </a:lnTo>
                      <a:lnTo>
                        <a:pt x="224" y="491"/>
                      </a:lnTo>
                      <a:lnTo>
                        <a:pt x="223" y="488"/>
                      </a:lnTo>
                      <a:lnTo>
                        <a:pt x="221" y="485"/>
                      </a:lnTo>
                      <a:lnTo>
                        <a:pt x="219" y="484"/>
                      </a:lnTo>
                      <a:lnTo>
                        <a:pt x="216" y="482"/>
                      </a:lnTo>
                      <a:lnTo>
                        <a:pt x="213" y="482"/>
                      </a:lnTo>
                      <a:lnTo>
                        <a:pt x="210" y="481"/>
                      </a:lnTo>
                      <a:lnTo>
                        <a:pt x="60" y="481"/>
                      </a:lnTo>
                      <a:lnTo>
                        <a:pt x="53" y="481"/>
                      </a:lnTo>
                      <a:lnTo>
                        <a:pt x="48" y="479"/>
                      </a:lnTo>
                      <a:lnTo>
                        <a:pt x="43" y="476"/>
                      </a:lnTo>
                      <a:lnTo>
                        <a:pt x="38" y="473"/>
                      </a:lnTo>
                      <a:lnTo>
                        <a:pt x="34" y="468"/>
                      </a:lnTo>
                      <a:lnTo>
                        <a:pt x="32" y="463"/>
                      </a:lnTo>
                      <a:lnTo>
                        <a:pt x="30" y="458"/>
                      </a:lnTo>
                      <a:lnTo>
                        <a:pt x="30" y="451"/>
                      </a:lnTo>
                      <a:lnTo>
                        <a:pt x="30" y="60"/>
                      </a:lnTo>
                      <a:lnTo>
                        <a:pt x="30" y="54"/>
                      </a:lnTo>
                      <a:lnTo>
                        <a:pt x="32" y="48"/>
                      </a:lnTo>
                      <a:lnTo>
                        <a:pt x="34" y="43"/>
                      </a:lnTo>
                      <a:lnTo>
                        <a:pt x="38" y="38"/>
                      </a:lnTo>
                      <a:lnTo>
                        <a:pt x="43" y="35"/>
                      </a:lnTo>
                      <a:lnTo>
                        <a:pt x="48" y="32"/>
                      </a:lnTo>
                      <a:lnTo>
                        <a:pt x="53" y="31"/>
                      </a:lnTo>
                      <a:lnTo>
                        <a:pt x="60" y="30"/>
                      </a:lnTo>
                      <a:lnTo>
                        <a:pt x="270" y="30"/>
                      </a:lnTo>
                      <a:lnTo>
                        <a:pt x="277" y="31"/>
                      </a:lnTo>
                      <a:lnTo>
                        <a:pt x="282" y="32"/>
                      </a:lnTo>
                      <a:lnTo>
                        <a:pt x="287" y="35"/>
                      </a:lnTo>
                      <a:lnTo>
                        <a:pt x="292" y="38"/>
                      </a:lnTo>
                      <a:lnTo>
                        <a:pt x="296" y="43"/>
                      </a:lnTo>
                      <a:lnTo>
                        <a:pt x="298" y="48"/>
                      </a:lnTo>
                      <a:lnTo>
                        <a:pt x="300" y="54"/>
                      </a:lnTo>
                      <a:lnTo>
                        <a:pt x="300" y="60"/>
                      </a:lnTo>
                      <a:lnTo>
                        <a:pt x="300" y="195"/>
                      </a:lnTo>
                      <a:lnTo>
                        <a:pt x="301" y="198"/>
                      </a:lnTo>
                      <a:lnTo>
                        <a:pt x="301" y="201"/>
                      </a:lnTo>
                      <a:lnTo>
                        <a:pt x="303" y="203"/>
                      </a:lnTo>
                      <a:lnTo>
                        <a:pt x="304" y="205"/>
                      </a:lnTo>
                      <a:lnTo>
                        <a:pt x="308" y="208"/>
                      </a:lnTo>
                      <a:lnTo>
                        <a:pt x="310" y="209"/>
                      </a:lnTo>
                      <a:lnTo>
                        <a:pt x="313" y="210"/>
                      </a:lnTo>
                      <a:lnTo>
                        <a:pt x="315" y="211"/>
                      </a:lnTo>
                      <a:lnTo>
                        <a:pt x="318" y="210"/>
                      </a:lnTo>
                      <a:lnTo>
                        <a:pt x="322" y="209"/>
                      </a:lnTo>
                      <a:lnTo>
                        <a:pt x="324" y="208"/>
                      </a:lnTo>
                      <a:lnTo>
                        <a:pt x="326" y="205"/>
                      </a:lnTo>
                      <a:lnTo>
                        <a:pt x="328" y="203"/>
                      </a:lnTo>
                      <a:lnTo>
                        <a:pt x="329" y="201"/>
                      </a:lnTo>
                      <a:lnTo>
                        <a:pt x="330" y="198"/>
                      </a:lnTo>
                      <a:lnTo>
                        <a:pt x="330" y="196"/>
                      </a:lnTo>
                      <a:lnTo>
                        <a:pt x="330" y="157"/>
                      </a:lnTo>
                      <a:lnTo>
                        <a:pt x="354" y="176"/>
                      </a:lnTo>
                      <a:lnTo>
                        <a:pt x="376" y="195"/>
                      </a:lnTo>
                      <a:lnTo>
                        <a:pt x="397" y="214"/>
                      </a:lnTo>
                      <a:lnTo>
                        <a:pt x="415" y="233"/>
                      </a:lnTo>
                      <a:lnTo>
                        <a:pt x="422" y="243"/>
                      </a:lnTo>
                      <a:lnTo>
                        <a:pt x="430" y="253"/>
                      </a:lnTo>
                      <a:lnTo>
                        <a:pt x="435" y="262"/>
                      </a:lnTo>
                      <a:lnTo>
                        <a:pt x="441" y="273"/>
                      </a:lnTo>
                      <a:lnTo>
                        <a:pt x="445" y="283"/>
                      </a:lnTo>
                      <a:lnTo>
                        <a:pt x="448" y="293"/>
                      </a:lnTo>
                      <a:lnTo>
                        <a:pt x="450" y="304"/>
                      </a:lnTo>
                      <a:lnTo>
                        <a:pt x="451" y="316"/>
                      </a:lnTo>
                      <a:lnTo>
                        <a:pt x="451" y="481"/>
                      </a:lnTo>
                      <a:lnTo>
                        <a:pt x="451" y="485"/>
                      </a:lnTo>
                      <a:lnTo>
                        <a:pt x="454" y="490"/>
                      </a:lnTo>
                      <a:lnTo>
                        <a:pt x="544" y="625"/>
                      </a:lnTo>
                      <a:lnTo>
                        <a:pt x="547" y="628"/>
                      </a:lnTo>
                      <a:lnTo>
                        <a:pt x="549" y="630"/>
                      </a:lnTo>
                      <a:lnTo>
                        <a:pt x="553" y="631"/>
                      </a:lnTo>
                      <a:lnTo>
                        <a:pt x="556" y="632"/>
                      </a:lnTo>
                      <a:lnTo>
                        <a:pt x="561" y="631"/>
                      </a:lnTo>
                      <a:lnTo>
                        <a:pt x="565" y="629"/>
                      </a:lnTo>
                      <a:lnTo>
                        <a:pt x="567" y="627"/>
                      </a:lnTo>
                      <a:lnTo>
                        <a:pt x="569" y="625"/>
                      </a:lnTo>
                      <a:lnTo>
                        <a:pt x="570" y="623"/>
                      </a:lnTo>
                      <a:lnTo>
                        <a:pt x="571" y="619"/>
                      </a:lnTo>
                      <a:lnTo>
                        <a:pt x="571" y="617"/>
                      </a:lnTo>
                      <a:lnTo>
                        <a:pt x="571" y="614"/>
                      </a:lnTo>
                      <a:lnTo>
                        <a:pt x="570" y="611"/>
                      </a:lnTo>
                      <a:lnTo>
                        <a:pt x="569" y="609"/>
                      </a:lnTo>
                      <a:lnTo>
                        <a:pt x="569" y="60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0" name="Freeform 220">
                  <a:extLst>
                    <a:ext uri="{FF2B5EF4-FFF2-40B4-BE49-F238E27FC236}">
                      <a16:creationId xmlns:a16="http://schemas.microsoft.com/office/drawing/2014/main" id="{3DCD2029-2089-44F2-8E0C-8A2884E5C7A3}"/>
                    </a:ext>
                  </a:extLst>
                </p:cNvPr>
                <p:cNvSpPr>
                  <a:spLocks/>
                </p:cNvSpPr>
                <p:nvPr/>
              </p:nvSpPr>
              <p:spPr bwMode="auto">
                <a:xfrm>
                  <a:off x="3316288" y="2103438"/>
                  <a:ext cx="61913" cy="117475"/>
                </a:xfrm>
                <a:custGeom>
                  <a:avLst/>
                  <a:gdLst>
                    <a:gd name="T0" fmla="*/ 93 w 192"/>
                    <a:gd name="T1" fmla="*/ 12 h 373"/>
                    <a:gd name="T2" fmla="*/ 84 w 192"/>
                    <a:gd name="T3" fmla="*/ 7 h 373"/>
                    <a:gd name="T4" fmla="*/ 68 w 192"/>
                    <a:gd name="T5" fmla="*/ 1 h 373"/>
                    <a:gd name="T6" fmla="*/ 45 w 192"/>
                    <a:gd name="T7" fmla="*/ 1 h 373"/>
                    <a:gd name="T8" fmla="*/ 29 w 192"/>
                    <a:gd name="T9" fmla="*/ 7 h 373"/>
                    <a:gd name="T10" fmla="*/ 20 w 192"/>
                    <a:gd name="T11" fmla="*/ 12 h 373"/>
                    <a:gd name="T12" fmla="*/ 12 w 192"/>
                    <a:gd name="T13" fmla="*/ 20 h 373"/>
                    <a:gd name="T14" fmla="*/ 6 w 192"/>
                    <a:gd name="T15" fmla="*/ 29 h 373"/>
                    <a:gd name="T16" fmla="*/ 1 w 192"/>
                    <a:gd name="T17" fmla="*/ 45 h 373"/>
                    <a:gd name="T18" fmla="*/ 0 w 192"/>
                    <a:gd name="T19" fmla="*/ 67 h 373"/>
                    <a:gd name="T20" fmla="*/ 6 w 192"/>
                    <a:gd name="T21" fmla="*/ 83 h 373"/>
                    <a:gd name="T22" fmla="*/ 11 w 192"/>
                    <a:gd name="T23" fmla="*/ 92 h 373"/>
                    <a:gd name="T24" fmla="*/ 86 w 192"/>
                    <a:gd name="T25" fmla="*/ 211 h 373"/>
                    <a:gd name="T26" fmla="*/ 86 w 192"/>
                    <a:gd name="T27" fmla="*/ 284 h 373"/>
                    <a:gd name="T28" fmla="*/ 89 w 192"/>
                    <a:gd name="T29" fmla="*/ 309 h 373"/>
                    <a:gd name="T30" fmla="*/ 96 w 192"/>
                    <a:gd name="T31" fmla="*/ 329 h 373"/>
                    <a:gd name="T32" fmla="*/ 110 w 192"/>
                    <a:gd name="T33" fmla="*/ 352 h 373"/>
                    <a:gd name="T34" fmla="*/ 122 w 192"/>
                    <a:gd name="T35" fmla="*/ 369 h 373"/>
                    <a:gd name="T36" fmla="*/ 128 w 192"/>
                    <a:gd name="T37" fmla="*/ 372 h 373"/>
                    <a:gd name="T38" fmla="*/ 137 w 192"/>
                    <a:gd name="T39" fmla="*/ 372 h 373"/>
                    <a:gd name="T40" fmla="*/ 143 w 192"/>
                    <a:gd name="T41" fmla="*/ 368 h 373"/>
                    <a:gd name="T42" fmla="*/ 146 w 192"/>
                    <a:gd name="T43" fmla="*/ 363 h 373"/>
                    <a:gd name="T44" fmla="*/ 146 w 192"/>
                    <a:gd name="T45" fmla="*/ 357 h 373"/>
                    <a:gd name="T46" fmla="*/ 145 w 192"/>
                    <a:gd name="T47" fmla="*/ 352 h 373"/>
                    <a:gd name="T48" fmla="*/ 135 w 192"/>
                    <a:gd name="T49" fmla="*/ 337 h 373"/>
                    <a:gd name="T50" fmla="*/ 124 w 192"/>
                    <a:gd name="T51" fmla="*/ 319 h 373"/>
                    <a:gd name="T52" fmla="*/ 118 w 192"/>
                    <a:gd name="T53" fmla="*/ 301 h 373"/>
                    <a:gd name="T54" fmla="*/ 116 w 192"/>
                    <a:gd name="T55" fmla="*/ 281 h 373"/>
                    <a:gd name="T56" fmla="*/ 116 w 192"/>
                    <a:gd name="T57" fmla="*/ 207 h 373"/>
                    <a:gd name="T58" fmla="*/ 114 w 192"/>
                    <a:gd name="T59" fmla="*/ 200 h 373"/>
                    <a:gd name="T60" fmla="*/ 38 w 192"/>
                    <a:gd name="T61" fmla="*/ 77 h 373"/>
                    <a:gd name="T62" fmla="*/ 34 w 192"/>
                    <a:gd name="T63" fmla="*/ 72 h 373"/>
                    <a:gd name="T64" fmla="*/ 30 w 192"/>
                    <a:gd name="T65" fmla="*/ 62 h 373"/>
                    <a:gd name="T66" fmla="*/ 30 w 192"/>
                    <a:gd name="T67" fmla="*/ 52 h 373"/>
                    <a:gd name="T68" fmla="*/ 34 w 192"/>
                    <a:gd name="T69" fmla="*/ 41 h 373"/>
                    <a:gd name="T70" fmla="*/ 41 w 192"/>
                    <a:gd name="T71" fmla="*/ 34 h 373"/>
                    <a:gd name="T72" fmla="*/ 51 w 192"/>
                    <a:gd name="T73" fmla="*/ 31 h 373"/>
                    <a:gd name="T74" fmla="*/ 61 w 192"/>
                    <a:gd name="T75" fmla="*/ 31 h 373"/>
                    <a:gd name="T76" fmla="*/ 72 w 192"/>
                    <a:gd name="T77" fmla="*/ 34 h 373"/>
                    <a:gd name="T78" fmla="*/ 167 w 192"/>
                    <a:gd name="T79" fmla="*/ 128 h 373"/>
                    <a:gd name="T80" fmla="*/ 171 w 192"/>
                    <a:gd name="T81" fmla="*/ 131 h 373"/>
                    <a:gd name="T82" fmla="*/ 177 w 192"/>
                    <a:gd name="T83" fmla="*/ 132 h 373"/>
                    <a:gd name="T84" fmla="*/ 183 w 192"/>
                    <a:gd name="T85" fmla="*/ 131 h 373"/>
                    <a:gd name="T86" fmla="*/ 187 w 192"/>
                    <a:gd name="T87" fmla="*/ 128 h 373"/>
                    <a:gd name="T88" fmla="*/ 191 w 192"/>
                    <a:gd name="T89" fmla="*/ 122 h 373"/>
                    <a:gd name="T90" fmla="*/ 192 w 192"/>
                    <a:gd name="T91" fmla="*/ 117 h 373"/>
                    <a:gd name="T92" fmla="*/ 191 w 192"/>
                    <a:gd name="T93" fmla="*/ 112 h 373"/>
                    <a:gd name="T94" fmla="*/ 187 w 192"/>
                    <a:gd name="T95" fmla="*/ 10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2" h="373">
                      <a:moveTo>
                        <a:pt x="97" y="16"/>
                      </a:moveTo>
                      <a:lnTo>
                        <a:pt x="93" y="12"/>
                      </a:lnTo>
                      <a:lnTo>
                        <a:pt x="88" y="9"/>
                      </a:lnTo>
                      <a:lnTo>
                        <a:pt x="84" y="7"/>
                      </a:lnTo>
                      <a:lnTo>
                        <a:pt x="79" y="4"/>
                      </a:lnTo>
                      <a:lnTo>
                        <a:pt x="68" y="1"/>
                      </a:lnTo>
                      <a:lnTo>
                        <a:pt x="56" y="0"/>
                      </a:lnTo>
                      <a:lnTo>
                        <a:pt x="45" y="1"/>
                      </a:lnTo>
                      <a:lnTo>
                        <a:pt x="35" y="4"/>
                      </a:lnTo>
                      <a:lnTo>
                        <a:pt x="29" y="7"/>
                      </a:lnTo>
                      <a:lnTo>
                        <a:pt x="24" y="9"/>
                      </a:lnTo>
                      <a:lnTo>
                        <a:pt x="20" y="12"/>
                      </a:lnTo>
                      <a:lnTo>
                        <a:pt x="15" y="16"/>
                      </a:lnTo>
                      <a:lnTo>
                        <a:pt x="12" y="20"/>
                      </a:lnTo>
                      <a:lnTo>
                        <a:pt x="9" y="25"/>
                      </a:lnTo>
                      <a:lnTo>
                        <a:pt x="6" y="29"/>
                      </a:lnTo>
                      <a:lnTo>
                        <a:pt x="4" y="34"/>
                      </a:lnTo>
                      <a:lnTo>
                        <a:pt x="1" y="45"/>
                      </a:lnTo>
                      <a:lnTo>
                        <a:pt x="0" y="56"/>
                      </a:lnTo>
                      <a:lnTo>
                        <a:pt x="0" y="67"/>
                      </a:lnTo>
                      <a:lnTo>
                        <a:pt x="4" y="77"/>
                      </a:lnTo>
                      <a:lnTo>
                        <a:pt x="6" y="83"/>
                      </a:lnTo>
                      <a:lnTo>
                        <a:pt x="8" y="87"/>
                      </a:lnTo>
                      <a:lnTo>
                        <a:pt x="11" y="92"/>
                      </a:lnTo>
                      <a:lnTo>
                        <a:pt x="14" y="97"/>
                      </a:lnTo>
                      <a:lnTo>
                        <a:pt x="86" y="211"/>
                      </a:lnTo>
                      <a:lnTo>
                        <a:pt x="86" y="267"/>
                      </a:lnTo>
                      <a:lnTo>
                        <a:pt x="86" y="284"/>
                      </a:lnTo>
                      <a:lnTo>
                        <a:pt x="87" y="297"/>
                      </a:lnTo>
                      <a:lnTo>
                        <a:pt x="89" y="309"/>
                      </a:lnTo>
                      <a:lnTo>
                        <a:pt x="91" y="320"/>
                      </a:lnTo>
                      <a:lnTo>
                        <a:pt x="96" y="329"/>
                      </a:lnTo>
                      <a:lnTo>
                        <a:pt x="101" y="340"/>
                      </a:lnTo>
                      <a:lnTo>
                        <a:pt x="110" y="352"/>
                      </a:lnTo>
                      <a:lnTo>
                        <a:pt x="119" y="367"/>
                      </a:lnTo>
                      <a:lnTo>
                        <a:pt x="122" y="369"/>
                      </a:lnTo>
                      <a:lnTo>
                        <a:pt x="125" y="371"/>
                      </a:lnTo>
                      <a:lnTo>
                        <a:pt x="128" y="372"/>
                      </a:lnTo>
                      <a:lnTo>
                        <a:pt x="131" y="373"/>
                      </a:lnTo>
                      <a:lnTo>
                        <a:pt x="137" y="372"/>
                      </a:lnTo>
                      <a:lnTo>
                        <a:pt x="141" y="370"/>
                      </a:lnTo>
                      <a:lnTo>
                        <a:pt x="143" y="368"/>
                      </a:lnTo>
                      <a:lnTo>
                        <a:pt x="144" y="366"/>
                      </a:lnTo>
                      <a:lnTo>
                        <a:pt x="146" y="363"/>
                      </a:lnTo>
                      <a:lnTo>
                        <a:pt x="146" y="360"/>
                      </a:lnTo>
                      <a:lnTo>
                        <a:pt x="146" y="357"/>
                      </a:lnTo>
                      <a:lnTo>
                        <a:pt x="146" y="354"/>
                      </a:lnTo>
                      <a:lnTo>
                        <a:pt x="145" y="352"/>
                      </a:lnTo>
                      <a:lnTo>
                        <a:pt x="144" y="349"/>
                      </a:lnTo>
                      <a:lnTo>
                        <a:pt x="135" y="337"/>
                      </a:lnTo>
                      <a:lnTo>
                        <a:pt x="129" y="327"/>
                      </a:lnTo>
                      <a:lnTo>
                        <a:pt x="124" y="319"/>
                      </a:lnTo>
                      <a:lnTo>
                        <a:pt x="120" y="310"/>
                      </a:lnTo>
                      <a:lnTo>
                        <a:pt x="118" y="301"/>
                      </a:lnTo>
                      <a:lnTo>
                        <a:pt x="117" y="293"/>
                      </a:lnTo>
                      <a:lnTo>
                        <a:pt x="116" y="281"/>
                      </a:lnTo>
                      <a:lnTo>
                        <a:pt x="116" y="267"/>
                      </a:lnTo>
                      <a:lnTo>
                        <a:pt x="116" y="207"/>
                      </a:lnTo>
                      <a:lnTo>
                        <a:pt x="116" y="203"/>
                      </a:lnTo>
                      <a:lnTo>
                        <a:pt x="114" y="200"/>
                      </a:lnTo>
                      <a:lnTo>
                        <a:pt x="39" y="78"/>
                      </a:lnTo>
                      <a:lnTo>
                        <a:pt x="38" y="77"/>
                      </a:lnTo>
                      <a:lnTo>
                        <a:pt x="37" y="76"/>
                      </a:lnTo>
                      <a:lnTo>
                        <a:pt x="34" y="72"/>
                      </a:lnTo>
                      <a:lnTo>
                        <a:pt x="31" y="68"/>
                      </a:lnTo>
                      <a:lnTo>
                        <a:pt x="30" y="62"/>
                      </a:lnTo>
                      <a:lnTo>
                        <a:pt x="30" y="57"/>
                      </a:lnTo>
                      <a:lnTo>
                        <a:pt x="30" y="52"/>
                      </a:lnTo>
                      <a:lnTo>
                        <a:pt x="31" y="46"/>
                      </a:lnTo>
                      <a:lnTo>
                        <a:pt x="34" y="41"/>
                      </a:lnTo>
                      <a:lnTo>
                        <a:pt x="37" y="38"/>
                      </a:lnTo>
                      <a:lnTo>
                        <a:pt x="41" y="34"/>
                      </a:lnTo>
                      <a:lnTo>
                        <a:pt x="45" y="32"/>
                      </a:lnTo>
                      <a:lnTo>
                        <a:pt x="51" y="31"/>
                      </a:lnTo>
                      <a:lnTo>
                        <a:pt x="56" y="30"/>
                      </a:lnTo>
                      <a:lnTo>
                        <a:pt x="61" y="31"/>
                      </a:lnTo>
                      <a:lnTo>
                        <a:pt x="67" y="32"/>
                      </a:lnTo>
                      <a:lnTo>
                        <a:pt x="72" y="34"/>
                      </a:lnTo>
                      <a:lnTo>
                        <a:pt x="75" y="38"/>
                      </a:lnTo>
                      <a:lnTo>
                        <a:pt x="167" y="128"/>
                      </a:lnTo>
                      <a:lnTo>
                        <a:pt x="169" y="130"/>
                      </a:lnTo>
                      <a:lnTo>
                        <a:pt x="171" y="131"/>
                      </a:lnTo>
                      <a:lnTo>
                        <a:pt x="174" y="132"/>
                      </a:lnTo>
                      <a:lnTo>
                        <a:pt x="177" y="132"/>
                      </a:lnTo>
                      <a:lnTo>
                        <a:pt x="179" y="132"/>
                      </a:lnTo>
                      <a:lnTo>
                        <a:pt x="183" y="131"/>
                      </a:lnTo>
                      <a:lnTo>
                        <a:pt x="185" y="130"/>
                      </a:lnTo>
                      <a:lnTo>
                        <a:pt x="187" y="128"/>
                      </a:lnTo>
                      <a:lnTo>
                        <a:pt x="189" y="126"/>
                      </a:lnTo>
                      <a:lnTo>
                        <a:pt x="191" y="122"/>
                      </a:lnTo>
                      <a:lnTo>
                        <a:pt x="191" y="120"/>
                      </a:lnTo>
                      <a:lnTo>
                        <a:pt x="192" y="117"/>
                      </a:lnTo>
                      <a:lnTo>
                        <a:pt x="191" y="114"/>
                      </a:lnTo>
                      <a:lnTo>
                        <a:pt x="191" y="112"/>
                      </a:lnTo>
                      <a:lnTo>
                        <a:pt x="189" y="108"/>
                      </a:lnTo>
                      <a:lnTo>
                        <a:pt x="187" y="106"/>
                      </a:lnTo>
                      <a:lnTo>
                        <a:pt x="97"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1" name="Freeform 221">
                  <a:extLst>
                    <a:ext uri="{FF2B5EF4-FFF2-40B4-BE49-F238E27FC236}">
                      <a16:creationId xmlns:a16="http://schemas.microsoft.com/office/drawing/2014/main" id="{D7584D2D-0533-4326-A43A-5D334F008B66}"/>
                    </a:ext>
                  </a:extLst>
                </p:cNvPr>
                <p:cNvSpPr>
                  <a:spLocks/>
                </p:cNvSpPr>
                <p:nvPr/>
              </p:nvSpPr>
              <p:spPr bwMode="auto">
                <a:xfrm>
                  <a:off x="3268663" y="1982788"/>
                  <a:ext cx="57150" cy="19050"/>
                </a:xfrm>
                <a:custGeom>
                  <a:avLst/>
                  <a:gdLst>
                    <a:gd name="T0" fmla="*/ 2 w 180"/>
                    <a:gd name="T1" fmla="*/ 37 h 60"/>
                    <a:gd name="T2" fmla="*/ 0 w 180"/>
                    <a:gd name="T3" fmla="*/ 42 h 60"/>
                    <a:gd name="T4" fmla="*/ 0 w 180"/>
                    <a:gd name="T5" fmla="*/ 49 h 60"/>
                    <a:gd name="T6" fmla="*/ 2 w 180"/>
                    <a:gd name="T7" fmla="*/ 54 h 60"/>
                    <a:gd name="T8" fmla="*/ 6 w 180"/>
                    <a:gd name="T9" fmla="*/ 58 h 60"/>
                    <a:gd name="T10" fmla="*/ 12 w 180"/>
                    <a:gd name="T11" fmla="*/ 60 h 60"/>
                    <a:gd name="T12" fmla="*/ 17 w 180"/>
                    <a:gd name="T13" fmla="*/ 60 h 60"/>
                    <a:gd name="T14" fmla="*/ 23 w 180"/>
                    <a:gd name="T15" fmla="*/ 58 h 60"/>
                    <a:gd name="T16" fmla="*/ 31 w 180"/>
                    <a:gd name="T17" fmla="*/ 51 h 60"/>
                    <a:gd name="T18" fmla="*/ 45 w 180"/>
                    <a:gd name="T19" fmla="*/ 42 h 60"/>
                    <a:gd name="T20" fmla="*/ 62 w 180"/>
                    <a:gd name="T21" fmla="*/ 35 h 60"/>
                    <a:gd name="T22" fmla="*/ 80 w 180"/>
                    <a:gd name="T23" fmla="*/ 30 h 60"/>
                    <a:gd name="T24" fmla="*/ 100 w 180"/>
                    <a:gd name="T25" fmla="*/ 30 h 60"/>
                    <a:gd name="T26" fmla="*/ 118 w 180"/>
                    <a:gd name="T27" fmla="*/ 35 h 60"/>
                    <a:gd name="T28" fmla="*/ 135 w 180"/>
                    <a:gd name="T29" fmla="*/ 42 h 60"/>
                    <a:gd name="T30" fmla="*/ 149 w 180"/>
                    <a:gd name="T31" fmla="*/ 51 h 60"/>
                    <a:gd name="T32" fmla="*/ 156 w 180"/>
                    <a:gd name="T33" fmla="*/ 58 h 60"/>
                    <a:gd name="T34" fmla="*/ 162 w 180"/>
                    <a:gd name="T35" fmla="*/ 60 h 60"/>
                    <a:gd name="T36" fmla="*/ 168 w 180"/>
                    <a:gd name="T37" fmla="*/ 60 h 60"/>
                    <a:gd name="T38" fmla="*/ 174 w 180"/>
                    <a:gd name="T39" fmla="*/ 58 h 60"/>
                    <a:gd name="T40" fmla="*/ 178 w 180"/>
                    <a:gd name="T41" fmla="*/ 54 h 60"/>
                    <a:gd name="T42" fmla="*/ 180 w 180"/>
                    <a:gd name="T43" fmla="*/ 49 h 60"/>
                    <a:gd name="T44" fmla="*/ 180 w 180"/>
                    <a:gd name="T45" fmla="*/ 42 h 60"/>
                    <a:gd name="T46" fmla="*/ 178 w 180"/>
                    <a:gd name="T47" fmla="*/ 37 h 60"/>
                    <a:gd name="T48" fmla="*/ 169 w 180"/>
                    <a:gd name="T49" fmla="*/ 28 h 60"/>
                    <a:gd name="T50" fmla="*/ 151 w 180"/>
                    <a:gd name="T51" fmla="*/ 16 h 60"/>
                    <a:gd name="T52" fmla="*/ 129 w 180"/>
                    <a:gd name="T53" fmla="*/ 7 h 60"/>
                    <a:gd name="T54" fmla="*/ 103 w 180"/>
                    <a:gd name="T55" fmla="*/ 1 h 60"/>
                    <a:gd name="T56" fmla="*/ 77 w 180"/>
                    <a:gd name="T57" fmla="*/ 1 h 60"/>
                    <a:gd name="T58" fmla="*/ 51 w 180"/>
                    <a:gd name="T59" fmla="*/ 7 h 60"/>
                    <a:gd name="T60" fmla="*/ 29 w 180"/>
                    <a:gd name="T61" fmla="*/ 16 h 60"/>
                    <a:gd name="T62" fmla="*/ 11 w 180"/>
                    <a:gd name="T63" fmla="*/ 28 h 60"/>
                    <a:gd name="T64" fmla="*/ 4 w 180"/>
                    <a:gd name="T65" fmla="*/ 3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0" h="60">
                      <a:moveTo>
                        <a:pt x="4" y="35"/>
                      </a:moveTo>
                      <a:lnTo>
                        <a:pt x="2" y="37"/>
                      </a:lnTo>
                      <a:lnTo>
                        <a:pt x="1" y="40"/>
                      </a:lnTo>
                      <a:lnTo>
                        <a:pt x="0" y="42"/>
                      </a:lnTo>
                      <a:lnTo>
                        <a:pt x="0" y="45"/>
                      </a:lnTo>
                      <a:lnTo>
                        <a:pt x="0" y="49"/>
                      </a:lnTo>
                      <a:lnTo>
                        <a:pt x="1" y="51"/>
                      </a:lnTo>
                      <a:lnTo>
                        <a:pt x="2" y="54"/>
                      </a:lnTo>
                      <a:lnTo>
                        <a:pt x="4" y="56"/>
                      </a:lnTo>
                      <a:lnTo>
                        <a:pt x="6" y="58"/>
                      </a:lnTo>
                      <a:lnTo>
                        <a:pt x="8" y="59"/>
                      </a:lnTo>
                      <a:lnTo>
                        <a:pt x="12" y="60"/>
                      </a:lnTo>
                      <a:lnTo>
                        <a:pt x="15" y="60"/>
                      </a:lnTo>
                      <a:lnTo>
                        <a:pt x="17" y="60"/>
                      </a:lnTo>
                      <a:lnTo>
                        <a:pt x="20" y="59"/>
                      </a:lnTo>
                      <a:lnTo>
                        <a:pt x="23" y="58"/>
                      </a:lnTo>
                      <a:lnTo>
                        <a:pt x="26" y="56"/>
                      </a:lnTo>
                      <a:lnTo>
                        <a:pt x="31" y="51"/>
                      </a:lnTo>
                      <a:lnTo>
                        <a:pt x="37" y="47"/>
                      </a:lnTo>
                      <a:lnTo>
                        <a:pt x="45" y="42"/>
                      </a:lnTo>
                      <a:lnTo>
                        <a:pt x="52" y="38"/>
                      </a:lnTo>
                      <a:lnTo>
                        <a:pt x="62" y="35"/>
                      </a:lnTo>
                      <a:lnTo>
                        <a:pt x="71" y="33"/>
                      </a:lnTo>
                      <a:lnTo>
                        <a:pt x="80" y="30"/>
                      </a:lnTo>
                      <a:lnTo>
                        <a:pt x="90" y="30"/>
                      </a:lnTo>
                      <a:lnTo>
                        <a:pt x="100" y="30"/>
                      </a:lnTo>
                      <a:lnTo>
                        <a:pt x="109" y="33"/>
                      </a:lnTo>
                      <a:lnTo>
                        <a:pt x="118" y="35"/>
                      </a:lnTo>
                      <a:lnTo>
                        <a:pt x="128" y="38"/>
                      </a:lnTo>
                      <a:lnTo>
                        <a:pt x="135" y="42"/>
                      </a:lnTo>
                      <a:lnTo>
                        <a:pt x="143" y="47"/>
                      </a:lnTo>
                      <a:lnTo>
                        <a:pt x="149" y="51"/>
                      </a:lnTo>
                      <a:lnTo>
                        <a:pt x="154" y="56"/>
                      </a:lnTo>
                      <a:lnTo>
                        <a:pt x="156" y="58"/>
                      </a:lnTo>
                      <a:lnTo>
                        <a:pt x="160" y="59"/>
                      </a:lnTo>
                      <a:lnTo>
                        <a:pt x="162" y="60"/>
                      </a:lnTo>
                      <a:lnTo>
                        <a:pt x="165" y="60"/>
                      </a:lnTo>
                      <a:lnTo>
                        <a:pt x="168" y="60"/>
                      </a:lnTo>
                      <a:lnTo>
                        <a:pt x="170" y="59"/>
                      </a:lnTo>
                      <a:lnTo>
                        <a:pt x="174" y="58"/>
                      </a:lnTo>
                      <a:lnTo>
                        <a:pt x="176" y="56"/>
                      </a:lnTo>
                      <a:lnTo>
                        <a:pt x="178" y="54"/>
                      </a:lnTo>
                      <a:lnTo>
                        <a:pt x="179" y="51"/>
                      </a:lnTo>
                      <a:lnTo>
                        <a:pt x="180" y="49"/>
                      </a:lnTo>
                      <a:lnTo>
                        <a:pt x="180" y="45"/>
                      </a:lnTo>
                      <a:lnTo>
                        <a:pt x="180" y="42"/>
                      </a:lnTo>
                      <a:lnTo>
                        <a:pt x="179" y="40"/>
                      </a:lnTo>
                      <a:lnTo>
                        <a:pt x="178" y="37"/>
                      </a:lnTo>
                      <a:lnTo>
                        <a:pt x="176" y="35"/>
                      </a:lnTo>
                      <a:lnTo>
                        <a:pt x="169" y="28"/>
                      </a:lnTo>
                      <a:lnTo>
                        <a:pt x="161" y="22"/>
                      </a:lnTo>
                      <a:lnTo>
                        <a:pt x="151" y="16"/>
                      </a:lnTo>
                      <a:lnTo>
                        <a:pt x="140" y="11"/>
                      </a:lnTo>
                      <a:lnTo>
                        <a:pt x="129" y="7"/>
                      </a:lnTo>
                      <a:lnTo>
                        <a:pt x="116" y="4"/>
                      </a:lnTo>
                      <a:lnTo>
                        <a:pt x="103" y="1"/>
                      </a:lnTo>
                      <a:lnTo>
                        <a:pt x="90" y="0"/>
                      </a:lnTo>
                      <a:lnTo>
                        <a:pt x="77" y="1"/>
                      </a:lnTo>
                      <a:lnTo>
                        <a:pt x="64" y="4"/>
                      </a:lnTo>
                      <a:lnTo>
                        <a:pt x="51" y="7"/>
                      </a:lnTo>
                      <a:lnTo>
                        <a:pt x="40" y="11"/>
                      </a:lnTo>
                      <a:lnTo>
                        <a:pt x="29" y="16"/>
                      </a:lnTo>
                      <a:lnTo>
                        <a:pt x="19" y="22"/>
                      </a:lnTo>
                      <a:lnTo>
                        <a:pt x="11" y="28"/>
                      </a:lnTo>
                      <a:lnTo>
                        <a:pt x="4" y="35"/>
                      </a:lnTo>
                      <a:lnTo>
                        <a:pt x="4"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2" name="Freeform 222">
                  <a:extLst>
                    <a:ext uri="{FF2B5EF4-FFF2-40B4-BE49-F238E27FC236}">
                      <a16:creationId xmlns:a16="http://schemas.microsoft.com/office/drawing/2014/main" id="{8A1EC199-B00C-4B96-8136-0B73781C7728}"/>
                    </a:ext>
                  </a:extLst>
                </p:cNvPr>
                <p:cNvSpPr>
                  <a:spLocks/>
                </p:cNvSpPr>
                <p:nvPr/>
              </p:nvSpPr>
              <p:spPr bwMode="auto">
                <a:xfrm>
                  <a:off x="3254375" y="1958975"/>
                  <a:ext cx="85725" cy="23813"/>
                </a:xfrm>
                <a:custGeom>
                  <a:avLst/>
                  <a:gdLst>
                    <a:gd name="T0" fmla="*/ 258 w 270"/>
                    <a:gd name="T1" fmla="*/ 75 h 75"/>
                    <a:gd name="T2" fmla="*/ 264 w 270"/>
                    <a:gd name="T3" fmla="*/ 73 h 75"/>
                    <a:gd name="T4" fmla="*/ 268 w 270"/>
                    <a:gd name="T5" fmla="*/ 69 h 75"/>
                    <a:gd name="T6" fmla="*/ 270 w 270"/>
                    <a:gd name="T7" fmla="*/ 63 h 75"/>
                    <a:gd name="T8" fmla="*/ 270 w 270"/>
                    <a:gd name="T9" fmla="*/ 57 h 75"/>
                    <a:gd name="T10" fmla="*/ 268 w 270"/>
                    <a:gd name="T11" fmla="*/ 52 h 75"/>
                    <a:gd name="T12" fmla="*/ 254 w 270"/>
                    <a:gd name="T13" fmla="*/ 39 h 75"/>
                    <a:gd name="T14" fmla="*/ 229 w 270"/>
                    <a:gd name="T15" fmla="*/ 21 h 75"/>
                    <a:gd name="T16" fmla="*/ 198 w 270"/>
                    <a:gd name="T17" fmla="*/ 8 h 75"/>
                    <a:gd name="T18" fmla="*/ 159 w 270"/>
                    <a:gd name="T19" fmla="*/ 0 h 75"/>
                    <a:gd name="T20" fmla="*/ 111 w 270"/>
                    <a:gd name="T21" fmla="*/ 0 h 75"/>
                    <a:gd name="T22" fmla="*/ 72 w 270"/>
                    <a:gd name="T23" fmla="*/ 8 h 75"/>
                    <a:gd name="T24" fmla="*/ 41 w 270"/>
                    <a:gd name="T25" fmla="*/ 21 h 75"/>
                    <a:gd name="T26" fmla="*/ 16 w 270"/>
                    <a:gd name="T27" fmla="*/ 39 h 75"/>
                    <a:gd name="T28" fmla="*/ 2 w 270"/>
                    <a:gd name="T29" fmla="*/ 52 h 75"/>
                    <a:gd name="T30" fmla="*/ 0 w 270"/>
                    <a:gd name="T31" fmla="*/ 57 h 75"/>
                    <a:gd name="T32" fmla="*/ 0 w 270"/>
                    <a:gd name="T33" fmla="*/ 63 h 75"/>
                    <a:gd name="T34" fmla="*/ 2 w 270"/>
                    <a:gd name="T35" fmla="*/ 69 h 75"/>
                    <a:gd name="T36" fmla="*/ 6 w 270"/>
                    <a:gd name="T37" fmla="*/ 73 h 75"/>
                    <a:gd name="T38" fmla="*/ 12 w 270"/>
                    <a:gd name="T39" fmla="*/ 75 h 75"/>
                    <a:gd name="T40" fmla="*/ 17 w 270"/>
                    <a:gd name="T41" fmla="*/ 75 h 75"/>
                    <a:gd name="T42" fmla="*/ 22 w 270"/>
                    <a:gd name="T43" fmla="*/ 73 h 75"/>
                    <a:gd name="T44" fmla="*/ 35 w 270"/>
                    <a:gd name="T45" fmla="*/ 61 h 75"/>
                    <a:gd name="T46" fmla="*/ 57 w 270"/>
                    <a:gd name="T47" fmla="*/ 46 h 75"/>
                    <a:gd name="T48" fmla="*/ 81 w 270"/>
                    <a:gd name="T49" fmla="*/ 36 h 75"/>
                    <a:gd name="T50" fmla="*/ 115 w 270"/>
                    <a:gd name="T51" fmla="*/ 30 h 75"/>
                    <a:gd name="T52" fmla="*/ 155 w 270"/>
                    <a:gd name="T53" fmla="*/ 30 h 75"/>
                    <a:gd name="T54" fmla="*/ 189 w 270"/>
                    <a:gd name="T55" fmla="*/ 36 h 75"/>
                    <a:gd name="T56" fmla="*/ 213 w 270"/>
                    <a:gd name="T57" fmla="*/ 46 h 75"/>
                    <a:gd name="T58" fmla="*/ 235 w 270"/>
                    <a:gd name="T59" fmla="*/ 61 h 75"/>
                    <a:gd name="T60" fmla="*/ 248 w 270"/>
                    <a:gd name="T61" fmla="*/ 73 h 75"/>
                    <a:gd name="T62" fmla="*/ 253 w 270"/>
                    <a:gd name="T6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0" h="75">
                      <a:moveTo>
                        <a:pt x="255" y="75"/>
                      </a:moveTo>
                      <a:lnTo>
                        <a:pt x="258" y="75"/>
                      </a:lnTo>
                      <a:lnTo>
                        <a:pt x="262" y="74"/>
                      </a:lnTo>
                      <a:lnTo>
                        <a:pt x="264" y="73"/>
                      </a:lnTo>
                      <a:lnTo>
                        <a:pt x="266" y="71"/>
                      </a:lnTo>
                      <a:lnTo>
                        <a:pt x="268" y="69"/>
                      </a:lnTo>
                      <a:lnTo>
                        <a:pt x="269" y="66"/>
                      </a:lnTo>
                      <a:lnTo>
                        <a:pt x="270" y="63"/>
                      </a:lnTo>
                      <a:lnTo>
                        <a:pt x="270" y="60"/>
                      </a:lnTo>
                      <a:lnTo>
                        <a:pt x="270" y="57"/>
                      </a:lnTo>
                      <a:lnTo>
                        <a:pt x="269" y="54"/>
                      </a:lnTo>
                      <a:lnTo>
                        <a:pt x="268" y="52"/>
                      </a:lnTo>
                      <a:lnTo>
                        <a:pt x="266" y="50"/>
                      </a:lnTo>
                      <a:lnTo>
                        <a:pt x="254" y="39"/>
                      </a:lnTo>
                      <a:lnTo>
                        <a:pt x="242" y="29"/>
                      </a:lnTo>
                      <a:lnTo>
                        <a:pt x="229" y="21"/>
                      </a:lnTo>
                      <a:lnTo>
                        <a:pt x="214" y="13"/>
                      </a:lnTo>
                      <a:lnTo>
                        <a:pt x="198" y="8"/>
                      </a:lnTo>
                      <a:lnTo>
                        <a:pt x="180" y="4"/>
                      </a:lnTo>
                      <a:lnTo>
                        <a:pt x="159" y="0"/>
                      </a:lnTo>
                      <a:lnTo>
                        <a:pt x="135" y="0"/>
                      </a:lnTo>
                      <a:lnTo>
                        <a:pt x="111" y="0"/>
                      </a:lnTo>
                      <a:lnTo>
                        <a:pt x="90" y="4"/>
                      </a:lnTo>
                      <a:lnTo>
                        <a:pt x="72" y="8"/>
                      </a:lnTo>
                      <a:lnTo>
                        <a:pt x="56" y="13"/>
                      </a:lnTo>
                      <a:lnTo>
                        <a:pt x="41" y="21"/>
                      </a:lnTo>
                      <a:lnTo>
                        <a:pt x="28" y="29"/>
                      </a:lnTo>
                      <a:lnTo>
                        <a:pt x="16" y="39"/>
                      </a:lnTo>
                      <a:lnTo>
                        <a:pt x="4" y="50"/>
                      </a:lnTo>
                      <a:lnTo>
                        <a:pt x="2" y="52"/>
                      </a:lnTo>
                      <a:lnTo>
                        <a:pt x="1" y="54"/>
                      </a:lnTo>
                      <a:lnTo>
                        <a:pt x="0" y="57"/>
                      </a:lnTo>
                      <a:lnTo>
                        <a:pt x="0" y="60"/>
                      </a:lnTo>
                      <a:lnTo>
                        <a:pt x="0" y="63"/>
                      </a:lnTo>
                      <a:lnTo>
                        <a:pt x="1" y="66"/>
                      </a:lnTo>
                      <a:lnTo>
                        <a:pt x="2" y="69"/>
                      </a:lnTo>
                      <a:lnTo>
                        <a:pt x="4" y="71"/>
                      </a:lnTo>
                      <a:lnTo>
                        <a:pt x="6" y="73"/>
                      </a:lnTo>
                      <a:lnTo>
                        <a:pt x="8" y="74"/>
                      </a:lnTo>
                      <a:lnTo>
                        <a:pt x="12" y="75"/>
                      </a:lnTo>
                      <a:lnTo>
                        <a:pt x="15" y="75"/>
                      </a:lnTo>
                      <a:lnTo>
                        <a:pt x="17" y="75"/>
                      </a:lnTo>
                      <a:lnTo>
                        <a:pt x="20" y="74"/>
                      </a:lnTo>
                      <a:lnTo>
                        <a:pt x="22" y="73"/>
                      </a:lnTo>
                      <a:lnTo>
                        <a:pt x="26" y="71"/>
                      </a:lnTo>
                      <a:lnTo>
                        <a:pt x="35" y="61"/>
                      </a:lnTo>
                      <a:lnTo>
                        <a:pt x="45" y="53"/>
                      </a:lnTo>
                      <a:lnTo>
                        <a:pt x="57" y="46"/>
                      </a:lnTo>
                      <a:lnTo>
                        <a:pt x="68" y="40"/>
                      </a:lnTo>
                      <a:lnTo>
                        <a:pt x="81" y="36"/>
                      </a:lnTo>
                      <a:lnTo>
                        <a:pt x="97" y="32"/>
                      </a:lnTo>
                      <a:lnTo>
                        <a:pt x="115" y="30"/>
                      </a:lnTo>
                      <a:lnTo>
                        <a:pt x="135" y="30"/>
                      </a:lnTo>
                      <a:lnTo>
                        <a:pt x="155" y="30"/>
                      </a:lnTo>
                      <a:lnTo>
                        <a:pt x="173" y="32"/>
                      </a:lnTo>
                      <a:lnTo>
                        <a:pt x="189" y="36"/>
                      </a:lnTo>
                      <a:lnTo>
                        <a:pt x="201" y="41"/>
                      </a:lnTo>
                      <a:lnTo>
                        <a:pt x="213" y="46"/>
                      </a:lnTo>
                      <a:lnTo>
                        <a:pt x="225" y="53"/>
                      </a:lnTo>
                      <a:lnTo>
                        <a:pt x="235" y="61"/>
                      </a:lnTo>
                      <a:lnTo>
                        <a:pt x="244" y="71"/>
                      </a:lnTo>
                      <a:lnTo>
                        <a:pt x="248" y="73"/>
                      </a:lnTo>
                      <a:lnTo>
                        <a:pt x="250" y="74"/>
                      </a:lnTo>
                      <a:lnTo>
                        <a:pt x="253" y="75"/>
                      </a:lnTo>
                      <a:lnTo>
                        <a:pt x="25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3" name="Freeform 223">
                  <a:extLst>
                    <a:ext uri="{FF2B5EF4-FFF2-40B4-BE49-F238E27FC236}">
                      <a16:creationId xmlns:a16="http://schemas.microsoft.com/office/drawing/2014/main" id="{DF1F2C7D-341D-45B0-BD24-49BE3B7FCFA8}"/>
                    </a:ext>
                  </a:extLst>
                </p:cNvPr>
                <p:cNvSpPr>
                  <a:spLocks/>
                </p:cNvSpPr>
                <p:nvPr/>
              </p:nvSpPr>
              <p:spPr bwMode="auto">
                <a:xfrm>
                  <a:off x="3240088" y="1935163"/>
                  <a:ext cx="114300" cy="28575"/>
                </a:xfrm>
                <a:custGeom>
                  <a:avLst/>
                  <a:gdLst>
                    <a:gd name="T0" fmla="*/ 338 w 360"/>
                    <a:gd name="T1" fmla="*/ 87 h 90"/>
                    <a:gd name="T2" fmla="*/ 343 w 360"/>
                    <a:gd name="T3" fmla="*/ 89 h 90"/>
                    <a:gd name="T4" fmla="*/ 348 w 360"/>
                    <a:gd name="T5" fmla="*/ 89 h 90"/>
                    <a:gd name="T6" fmla="*/ 354 w 360"/>
                    <a:gd name="T7" fmla="*/ 87 h 90"/>
                    <a:gd name="T8" fmla="*/ 358 w 360"/>
                    <a:gd name="T9" fmla="*/ 83 h 90"/>
                    <a:gd name="T10" fmla="*/ 360 w 360"/>
                    <a:gd name="T11" fmla="*/ 77 h 90"/>
                    <a:gd name="T12" fmla="*/ 360 w 360"/>
                    <a:gd name="T13" fmla="*/ 72 h 90"/>
                    <a:gd name="T14" fmla="*/ 358 w 360"/>
                    <a:gd name="T15" fmla="*/ 67 h 90"/>
                    <a:gd name="T16" fmla="*/ 347 w 360"/>
                    <a:gd name="T17" fmla="*/ 56 h 90"/>
                    <a:gd name="T18" fmla="*/ 329 w 360"/>
                    <a:gd name="T19" fmla="*/ 41 h 90"/>
                    <a:gd name="T20" fmla="*/ 311 w 360"/>
                    <a:gd name="T21" fmla="*/ 28 h 90"/>
                    <a:gd name="T22" fmla="*/ 292 w 360"/>
                    <a:gd name="T23" fmla="*/ 18 h 90"/>
                    <a:gd name="T24" fmla="*/ 270 w 360"/>
                    <a:gd name="T25" fmla="*/ 11 h 90"/>
                    <a:gd name="T26" fmla="*/ 248 w 360"/>
                    <a:gd name="T27" fmla="*/ 6 h 90"/>
                    <a:gd name="T28" fmla="*/ 209 w 360"/>
                    <a:gd name="T29" fmla="*/ 0 h 90"/>
                    <a:gd name="T30" fmla="*/ 151 w 360"/>
                    <a:gd name="T31" fmla="*/ 0 h 90"/>
                    <a:gd name="T32" fmla="*/ 112 w 360"/>
                    <a:gd name="T33" fmla="*/ 6 h 90"/>
                    <a:gd name="T34" fmla="*/ 90 w 360"/>
                    <a:gd name="T35" fmla="*/ 11 h 90"/>
                    <a:gd name="T36" fmla="*/ 68 w 360"/>
                    <a:gd name="T37" fmla="*/ 18 h 90"/>
                    <a:gd name="T38" fmla="*/ 49 w 360"/>
                    <a:gd name="T39" fmla="*/ 28 h 90"/>
                    <a:gd name="T40" fmla="*/ 31 w 360"/>
                    <a:gd name="T41" fmla="*/ 41 h 90"/>
                    <a:gd name="T42" fmla="*/ 13 w 360"/>
                    <a:gd name="T43" fmla="*/ 56 h 90"/>
                    <a:gd name="T44" fmla="*/ 2 w 360"/>
                    <a:gd name="T45" fmla="*/ 67 h 90"/>
                    <a:gd name="T46" fmla="*/ 0 w 360"/>
                    <a:gd name="T47" fmla="*/ 72 h 90"/>
                    <a:gd name="T48" fmla="*/ 0 w 360"/>
                    <a:gd name="T49" fmla="*/ 77 h 90"/>
                    <a:gd name="T50" fmla="*/ 2 w 360"/>
                    <a:gd name="T51" fmla="*/ 83 h 90"/>
                    <a:gd name="T52" fmla="*/ 6 w 360"/>
                    <a:gd name="T53" fmla="*/ 87 h 90"/>
                    <a:gd name="T54" fmla="*/ 12 w 360"/>
                    <a:gd name="T55" fmla="*/ 89 h 90"/>
                    <a:gd name="T56" fmla="*/ 17 w 360"/>
                    <a:gd name="T57" fmla="*/ 89 h 90"/>
                    <a:gd name="T58" fmla="*/ 22 w 360"/>
                    <a:gd name="T59" fmla="*/ 87 h 90"/>
                    <a:gd name="T60" fmla="*/ 41 w 360"/>
                    <a:gd name="T61" fmla="*/ 71 h 90"/>
                    <a:gd name="T62" fmla="*/ 64 w 360"/>
                    <a:gd name="T63" fmla="*/ 55 h 90"/>
                    <a:gd name="T64" fmla="*/ 81 w 360"/>
                    <a:gd name="T65" fmla="*/ 45 h 90"/>
                    <a:gd name="T66" fmla="*/ 100 w 360"/>
                    <a:gd name="T67" fmla="*/ 39 h 90"/>
                    <a:gd name="T68" fmla="*/ 120 w 360"/>
                    <a:gd name="T69" fmla="*/ 35 h 90"/>
                    <a:gd name="T70" fmla="*/ 154 w 360"/>
                    <a:gd name="T71" fmla="*/ 30 h 90"/>
                    <a:gd name="T72" fmla="*/ 206 w 360"/>
                    <a:gd name="T73" fmla="*/ 30 h 90"/>
                    <a:gd name="T74" fmla="*/ 240 w 360"/>
                    <a:gd name="T75" fmla="*/ 35 h 90"/>
                    <a:gd name="T76" fmla="*/ 260 w 360"/>
                    <a:gd name="T77" fmla="*/ 39 h 90"/>
                    <a:gd name="T78" fmla="*/ 279 w 360"/>
                    <a:gd name="T79" fmla="*/ 45 h 90"/>
                    <a:gd name="T80" fmla="*/ 296 w 360"/>
                    <a:gd name="T81" fmla="*/ 55 h 90"/>
                    <a:gd name="T82" fmla="*/ 319 w 360"/>
                    <a:gd name="T83" fmla="*/ 71 h 90"/>
                    <a:gd name="T84" fmla="*/ 334 w 360"/>
                    <a:gd name="T85" fmla="*/ 8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0" h="90">
                      <a:moveTo>
                        <a:pt x="334" y="86"/>
                      </a:moveTo>
                      <a:lnTo>
                        <a:pt x="338" y="87"/>
                      </a:lnTo>
                      <a:lnTo>
                        <a:pt x="340" y="89"/>
                      </a:lnTo>
                      <a:lnTo>
                        <a:pt x="343" y="89"/>
                      </a:lnTo>
                      <a:lnTo>
                        <a:pt x="345" y="90"/>
                      </a:lnTo>
                      <a:lnTo>
                        <a:pt x="348" y="89"/>
                      </a:lnTo>
                      <a:lnTo>
                        <a:pt x="352" y="89"/>
                      </a:lnTo>
                      <a:lnTo>
                        <a:pt x="354" y="87"/>
                      </a:lnTo>
                      <a:lnTo>
                        <a:pt x="356" y="86"/>
                      </a:lnTo>
                      <a:lnTo>
                        <a:pt x="358" y="83"/>
                      </a:lnTo>
                      <a:lnTo>
                        <a:pt x="359" y="81"/>
                      </a:lnTo>
                      <a:lnTo>
                        <a:pt x="360" y="77"/>
                      </a:lnTo>
                      <a:lnTo>
                        <a:pt x="360" y="75"/>
                      </a:lnTo>
                      <a:lnTo>
                        <a:pt x="360" y="72"/>
                      </a:lnTo>
                      <a:lnTo>
                        <a:pt x="359" y="69"/>
                      </a:lnTo>
                      <a:lnTo>
                        <a:pt x="358" y="67"/>
                      </a:lnTo>
                      <a:lnTo>
                        <a:pt x="356" y="65"/>
                      </a:lnTo>
                      <a:lnTo>
                        <a:pt x="347" y="56"/>
                      </a:lnTo>
                      <a:lnTo>
                        <a:pt x="339" y="48"/>
                      </a:lnTo>
                      <a:lnTo>
                        <a:pt x="329" y="41"/>
                      </a:lnTo>
                      <a:lnTo>
                        <a:pt x="320" y="35"/>
                      </a:lnTo>
                      <a:lnTo>
                        <a:pt x="311" y="28"/>
                      </a:lnTo>
                      <a:lnTo>
                        <a:pt x="301" y="23"/>
                      </a:lnTo>
                      <a:lnTo>
                        <a:pt x="292" y="18"/>
                      </a:lnTo>
                      <a:lnTo>
                        <a:pt x="281" y="14"/>
                      </a:lnTo>
                      <a:lnTo>
                        <a:pt x="270" y="11"/>
                      </a:lnTo>
                      <a:lnTo>
                        <a:pt x="259" y="8"/>
                      </a:lnTo>
                      <a:lnTo>
                        <a:pt x="248" y="6"/>
                      </a:lnTo>
                      <a:lnTo>
                        <a:pt x="235" y="3"/>
                      </a:lnTo>
                      <a:lnTo>
                        <a:pt x="209" y="0"/>
                      </a:lnTo>
                      <a:lnTo>
                        <a:pt x="180" y="0"/>
                      </a:lnTo>
                      <a:lnTo>
                        <a:pt x="151" y="0"/>
                      </a:lnTo>
                      <a:lnTo>
                        <a:pt x="124" y="3"/>
                      </a:lnTo>
                      <a:lnTo>
                        <a:pt x="112" y="6"/>
                      </a:lnTo>
                      <a:lnTo>
                        <a:pt x="101" y="8"/>
                      </a:lnTo>
                      <a:lnTo>
                        <a:pt x="90" y="11"/>
                      </a:lnTo>
                      <a:lnTo>
                        <a:pt x="79" y="14"/>
                      </a:lnTo>
                      <a:lnTo>
                        <a:pt x="68" y="18"/>
                      </a:lnTo>
                      <a:lnTo>
                        <a:pt x="59" y="23"/>
                      </a:lnTo>
                      <a:lnTo>
                        <a:pt x="49" y="28"/>
                      </a:lnTo>
                      <a:lnTo>
                        <a:pt x="39" y="35"/>
                      </a:lnTo>
                      <a:lnTo>
                        <a:pt x="31" y="41"/>
                      </a:lnTo>
                      <a:lnTo>
                        <a:pt x="21" y="48"/>
                      </a:lnTo>
                      <a:lnTo>
                        <a:pt x="13" y="56"/>
                      </a:lnTo>
                      <a:lnTo>
                        <a:pt x="4" y="65"/>
                      </a:lnTo>
                      <a:lnTo>
                        <a:pt x="2" y="67"/>
                      </a:lnTo>
                      <a:lnTo>
                        <a:pt x="1" y="69"/>
                      </a:lnTo>
                      <a:lnTo>
                        <a:pt x="0" y="72"/>
                      </a:lnTo>
                      <a:lnTo>
                        <a:pt x="0" y="75"/>
                      </a:lnTo>
                      <a:lnTo>
                        <a:pt x="0" y="77"/>
                      </a:lnTo>
                      <a:lnTo>
                        <a:pt x="1" y="81"/>
                      </a:lnTo>
                      <a:lnTo>
                        <a:pt x="2" y="83"/>
                      </a:lnTo>
                      <a:lnTo>
                        <a:pt x="4" y="86"/>
                      </a:lnTo>
                      <a:lnTo>
                        <a:pt x="6" y="87"/>
                      </a:lnTo>
                      <a:lnTo>
                        <a:pt x="8" y="89"/>
                      </a:lnTo>
                      <a:lnTo>
                        <a:pt x="12" y="89"/>
                      </a:lnTo>
                      <a:lnTo>
                        <a:pt x="15" y="90"/>
                      </a:lnTo>
                      <a:lnTo>
                        <a:pt x="17" y="89"/>
                      </a:lnTo>
                      <a:lnTo>
                        <a:pt x="20" y="89"/>
                      </a:lnTo>
                      <a:lnTo>
                        <a:pt x="22" y="87"/>
                      </a:lnTo>
                      <a:lnTo>
                        <a:pt x="26" y="86"/>
                      </a:lnTo>
                      <a:lnTo>
                        <a:pt x="41" y="71"/>
                      </a:lnTo>
                      <a:lnTo>
                        <a:pt x="57" y="59"/>
                      </a:lnTo>
                      <a:lnTo>
                        <a:pt x="64" y="55"/>
                      </a:lnTo>
                      <a:lnTo>
                        <a:pt x="73" y="50"/>
                      </a:lnTo>
                      <a:lnTo>
                        <a:pt x="81" y="45"/>
                      </a:lnTo>
                      <a:lnTo>
                        <a:pt x="91" y="42"/>
                      </a:lnTo>
                      <a:lnTo>
                        <a:pt x="100" y="39"/>
                      </a:lnTo>
                      <a:lnTo>
                        <a:pt x="109" y="37"/>
                      </a:lnTo>
                      <a:lnTo>
                        <a:pt x="120" y="35"/>
                      </a:lnTo>
                      <a:lnTo>
                        <a:pt x="131" y="32"/>
                      </a:lnTo>
                      <a:lnTo>
                        <a:pt x="154" y="30"/>
                      </a:lnTo>
                      <a:lnTo>
                        <a:pt x="180" y="30"/>
                      </a:lnTo>
                      <a:lnTo>
                        <a:pt x="206" y="30"/>
                      </a:lnTo>
                      <a:lnTo>
                        <a:pt x="229" y="32"/>
                      </a:lnTo>
                      <a:lnTo>
                        <a:pt x="240" y="35"/>
                      </a:lnTo>
                      <a:lnTo>
                        <a:pt x="250" y="37"/>
                      </a:lnTo>
                      <a:lnTo>
                        <a:pt x="260" y="39"/>
                      </a:lnTo>
                      <a:lnTo>
                        <a:pt x="269" y="42"/>
                      </a:lnTo>
                      <a:lnTo>
                        <a:pt x="279" y="45"/>
                      </a:lnTo>
                      <a:lnTo>
                        <a:pt x="287" y="50"/>
                      </a:lnTo>
                      <a:lnTo>
                        <a:pt x="296" y="55"/>
                      </a:lnTo>
                      <a:lnTo>
                        <a:pt x="303" y="59"/>
                      </a:lnTo>
                      <a:lnTo>
                        <a:pt x="319" y="71"/>
                      </a:lnTo>
                      <a:lnTo>
                        <a:pt x="334" y="86"/>
                      </a:lnTo>
                      <a:lnTo>
                        <a:pt x="33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4" name="Freeform 224">
                  <a:extLst>
                    <a:ext uri="{FF2B5EF4-FFF2-40B4-BE49-F238E27FC236}">
                      <a16:creationId xmlns:a16="http://schemas.microsoft.com/office/drawing/2014/main" id="{72AB2810-0AC3-412B-A090-AC9847ACE7C4}"/>
                    </a:ext>
                  </a:extLst>
                </p:cNvPr>
                <p:cNvSpPr>
                  <a:spLocks/>
                </p:cNvSpPr>
                <p:nvPr/>
              </p:nvSpPr>
              <p:spPr bwMode="auto">
                <a:xfrm>
                  <a:off x="3278188" y="2049463"/>
                  <a:ext cx="9525" cy="9525"/>
                </a:xfrm>
                <a:custGeom>
                  <a:avLst/>
                  <a:gdLst>
                    <a:gd name="T0" fmla="*/ 15 w 30"/>
                    <a:gd name="T1" fmla="*/ 0 h 30"/>
                    <a:gd name="T2" fmla="*/ 12 w 30"/>
                    <a:gd name="T3" fmla="*/ 1 h 30"/>
                    <a:gd name="T4" fmla="*/ 9 w 30"/>
                    <a:gd name="T5" fmla="*/ 1 h 30"/>
                    <a:gd name="T6" fmla="*/ 6 w 30"/>
                    <a:gd name="T7" fmla="*/ 3 h 30"/>
                    <a:gd name="T8" fmla="*/ 4 w 30"/>
                    <a:gd name="T9" fmla="*/ 4 h 30"/>
                    <a:gd name="T10" fmla="*/ 2 w 30"/>
                    <a:gd name="T11" fmla="*/ 7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7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7 w 30"/>
                    <a:gd name="T55" fmla="*/ 6 h 30"/>
                    <a:gd name="T56" fmla="*/ 26 w 30"/>
                    <a:gd name="T57" fmla="*/ 4 h 30"/>
                    <a:gd name="T58" fmla="*/ 24 w 30"/>
                    <a:gd name="T59" fmla="*/ 3 h 30"/>
                    <a:gd name="T60" fmla="*/ 20 w 30"/>
                    <a:gd name="T61" fmla="*/ 1 h 30"/>
                    <a:gd name="T62" fmla="*/ 18 w 30"/>
                    <a:gd name="T63" fmla="*/ 1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1"/>
                      </a:lnTo>
                      <a:lnTo>
                        <a:pt x="9" y="1"/>
                      </a:lnTo>
                      <a:lnTo>
                        <a:pt x="6" y="3"/>
                      </a:lnTo>
                      <a:lnTo>
                        <a:pt x="4" y="4"/>
                      </a:lnTo>
                      <a:lnTo>
                        <a:pt x="2" y="7"/>
                      </a:lnTo>
                      <a:lnTo>
                        <a:pt x="1" y="9"/>
                      </a:lnTo>
                      <a:lnTo>
                        <a:pt x="0" y="12"/>
                      </a:lnTo>
                      <a:lnTo>
                        <a:pt x="0" y="15"/>
                      </a:lnTo>
                      <a:lnTo>
                        <a:pt x="0" y="18"/>
                      </a:lnTo>
                      <a:lnTo>
                        <a:pt x="1" y="21"/>
                      </a:lnTo>
                      <a:lnTo>
                        <a:pt x="2" y="23"/>
                      </a:lnTo>
                      <a:lnTo>
                        <a:pt x="4" y="25"/>
                      </a:lnTo>
                      <a:lnTo>
                        <a:pt x="6" y="28"/>
                      </a:lnTo>
                      <a:lnTo>
                        <a:pt x="9" y="29"/>
                      </a:lnTo>
                      <a:lnTo>
                        <a:pt x="12" y="30"/>
                      </a:lnTo>
                      <a:lnTo>
                        <a:pt x="15" y="30"/>
                      </a:lnTo>
                      <a:lnTo>
                        <a:pt x="18" y="30"/>
                      </a:lnTo>
                      <a:lnTo>
                        <a:pt x="20" y="29"/>
                      </a:lnTo>
                      <a:lnTo>
                        <a:pt x="24" y="28"/>
                      </a:lnTo>
                      <a:lnTo>
                        <a:pt x="26" y="25"/>
                      </a:lnTo>
                      <a:lnTo>
                        <a:pt x="27" y="23"/>
                      </a:lnTo>
                      <a:lnTo>
                        <a:pt x="29" y="21"/>
                      </a:lnTo>
                      <a:lnTo>
                        <a:pt x="30" y="18"/>
                      </a:lnTo>
                      <a:lnTo>
                        <a:pt x="30" y="15"/>
                      </a:lnTo>
                      <a:lnTo>
                        <a:pt x="30" y="12"/>
                      </a:lnTo>
                      <a:lnTo>
                        <a:pt x="29" y="9"/>
                      </a:lnTo>
                      <a:lnTo>
                        <a:pt x="27" y="6"/>
                      </a:lnTo>
                      <a:lnTo>
                        <a:pt x="26" y="4"/>
                      </a:lnTo>
                      <a:lnTo>
                        <a:pt x="24" y="3"/>
                      </a:lnTo>
                      <a:lnTo>
                        <a:pt x="20" y="1"/>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5" name="Freeform 225">
                  <a:extLst>
                    <a:ext uri="{FF2B5EF4-FFF2-40B4-BE49-F238E27FC236}">
                      <a16:creationId xmlns:a16="http://schemas.microsoft.com/office/drawing/2014/main" id="{A45E07D6-EDF5-4910-AF95-9A12DD6901EF}"/>
                    </a:ext>
                  </a:extLst>
                </p:cNvPr>
                <p:cNvSpPr>
                  <a:spLocks/>
                </p:cNvSpPr>
                <p:nvPr/>
              </p:nvSpPr>
              <p:spPr bwMode="auto">
                <a:xfrm>
                  <a:off x="3297238" y="2049463"/>
                  <a:ext cx="9525" cy="9525"/>
                </a:xfrm>
                <a:custGeom>
                  <a:avLst/>
                  <a:gdLst>
                    <a:gd name="T0" fmla="*/ 15 w 30"/>
                    <a:gd name="T1" fmla="*/ 0 h 30"/>
                    <a:gd name="T2" fmla="*/ 12 w 30"/>
                    <a:gd name="T3" fmla="*/ 1 h 30"/>
                    <a:gd name="T4" fmla="*/ 10 w 30"/>
                    <a:gd name="T5" fmla="*/ 1 h 30"/>
                    <a:gd name="T6" fmla="*/ 6 w 30"/>
                    <a:gd name="T7" fmla="*/ 3 h 30"/>
                    <a:gd name="T8" fmla="*/ 4 w 30"/>
                    <a:gd name="T9" fmla="*/ 4 h 30"/>
                    <a:gd name="T10" fmla="*/ 2 w 30"/>
                    <a:gd name="T11" fmla="*/ 7 h 30"/>
                    <a:gd name="T12" fmla="*/ 1 w 30"/>
                    <a:gd name="T13" fmla="*/ 9 h 30"/>
                    <a:gd name="T14" fmla="*/ 0 w 30"/>
                    <a:gd name="T15" fmla="*/ 12 h 30"/>
                    <a:gd name="T16" fmla="*/ 0 w 30"/>
                    <a:gd name="T17" fmla="*/ 15 h 30"/>
                    <a:gd name="T18" fmla="*/ 0 w 30"/>
                    <a:gd name="T19" fmla="*/ 18 h 30"/>
                    <a:gd name="T20" fmla="*/ 1 w 30"/>
                    <a:gd name="T21" fmla="*/ 21 h 30"/>
                    <a:gd name="T22" fmla="*/ 2 w 30"/>
                    <a:gd name="T23" fmla="*/ 23 h 30"/>
                    <a:gd name="T24" fmla="*/ 4 w 30"/>
                    <a:gd name="T25" fmla="*/ 25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5 h 30"/>
                    <a:gd name="T42" fmla="*/ 28 w 30"/>
                    <a:gd name="T43" fmla="*/ 23 h 30"/>
                    <a:gd name="T44" fmla="*/ 29 w 30"/>
                    <a:gd name="T45" fmla="*/ 21 h 30"/>
                    <a:gd name="T46" fmla="*/ 30 w 30"/>
                    <a:gd name="T47" fmla="*/ 18 h 30"/>
                    <a:gd name="T48" fmla="*/ 30 w 30"/>
                    <a:gd name="T49" fmla="*/ 15 h 30"/>
                    <a:gd name="T50" fmla="*/ 30 w 30"/>
                    <a:gd name="T51" fmla="*/ 12 h 30"/>
                    <a:gd name="T52" fmla="*/ 29 w 30"/>
                    <a:gd name="T53" fmla="*/ 9 h 30"/>
                    <a:gd name="T54" fmla="*/ 28 w 30"/>
                    <a:gd name="T55" fmla="*/ 6 h 30"/>
                    <a:gd name="T56" fmla="*/ 26 w 30"/>
                    <a:gd name="T57" fmla="*/ 4 h 30"/>
                    <a:gd name="T58" fmla="*/ 24 w 30"/>
                    <a:gd name="T59" fmla="*/ 3 h 30"/>
                    <a:gd name="T60" fmla="*/ 20 w 30"/>
                    <a:gd name="T61" fmla="*/ 1 h 30"/>
                    <a:gd name="T62" fmla="*/ 18 w 30"/>
                    <a:gd name="T63" fmla="*/ 1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1"/>
                      </a:lnTo>
                      <a:lnTo>
                        <a:pt x="10" y="1"/>
                      </a:lnTo>
                      <a:lnTo>
                        <a:pt x="6" y="3"/>
                      </a:lnTo>
                      <a:lnTo>
                        <a:pt x="4" y="4"/>
                      </a:lnTo>
                      <a:lnTo>
                        <a:pt x="2" y="7"/>
                      </a:lnTo>
                      <a:lnTo>
                        <a:pt x="1" y="9"/>
                      </a:lnTo>
                      <a:lnTo>
                        <a:pt x="0" y="12"/>
                      </a:lnTo>
                      <a:lnTo>
                        <a:pt x="0" y="15"/>
                      </a:lnTo>
                      <a:lnTo>
                        <a:pt x="0" y="18"/>
                      </a:lnTo>
                      <a:lnTo>
                        <a:pt x="1" y="21"/>
                      </a:lnTo>
                      <a:lnTo>
                        <a:pt x="2" y="23"/>
                      </a:lnTo>
                      <a:lnTo>
                        <a:pt x="4" y="25"/>
                      </a:lnTo>
                      <a:lnTo>
                        <a:pt x="6" y="28"/>
                      </a:lnTo>
                      <a:lnTo>
                        <a:pt x="10" y="29"/>
                      </a:lnTo>
                      <a:lnTo>
                        <a:pt x="12" y="30"/>
                      </a:lnTo>
                      <a:lnTo>
                        <a:pt x="15" y="30"/>
                      </a:lnTo>
                      <a:lnTo>
                        <a:pt x="18" y="30"/>
                      </a:lnTo>
                      <a:lnTo>
                        <a:pt x="20"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0" y="1"/>
                      </a:lnTo>
                      <a:lnTo>
                        <a:pt x="18" y="1"/>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6" name="Freeform 226">
                  <a:extLst>
                    <a:ext uri="{FF2B5EF4-FFF2-40B4-BE49-F238E27FC236}">
                      <a16:creationId xmlns:a16="http://schemas.microsoft.com/office/drawing/2014/main" id="{4AB4CFD9-0EB7-44F8-86D0-E5D59326CC7F}"/>
                    </a:ext>
                  </a:extLst>
                </p:cNvPr>
                <p:cNvSpPr>
                  <a:spLocks/>
                </p:cNvSpPr>
                <p:nvPr/>
              </p:nvSpPr>
              <p:spPr bwMode="auto">
                <a:xfrm>
                  <a:off x="3316288" y="2049463"/>
                  <a:ext cx="9525" cy="9525"/>
                </a:xfrm>
                <a:custGeom>
                  <a:avLst/>
                  <a:gdLst>
                    <a:gd name="T0" fmla="*/ 15 w 30"/>
                    <a:gd name="T1" fmla="*/ 30 h 30"/>
                    <a:gd name="T2" fmla="*/ 18 w 30"/>
                    <a:gd name="T3" fmla="*/ 30 h 30"/>
                    <a:gd name="T4" fmla="*/ 21 w 30"/>
                    <a:gd name="T5" fmla="*/ 29 h 30"/>
                    <a:gd name="T6" fmla="*/ 24 w 30"/>
                    <a:gd name="T7" fmla="*/ 28 h 30"/>
                    <a:gd name="T8" fmla="*/ 26 w 30"/>
                    <a:gd name="T9" fmla="*/ 25 h 30"/>
                    <a:gd name="T10" fmla="*/ 28 w 30"/>
                    <a:gd name="T11" fmla="*/ 23 h 30"/>
                    <a:gd name="T12" fmla="*/ 29 w 30"/>
                    <a:gd name="T13" fmla="*/ 21 h 30"/>
                    <a:gd name="T14" fmla="*/ 30 w 30"/>
                    <a:gd name="T15" fmla="*/ 18 h 30"/>
                    <a:gd name="T16" fmla="*/ 30 w 30"/>
                    <a:gd name="T17" fmla="*/ 15 h 30"/>
                    <a:gd name="T18" fmla="*/ 30 w 30"/>
                    <a:gd name="T19" fmla="*/ 12 h 30"/>
                    <a:gd name="T20" fmla="*/ 29 w 30"/>
                    <a:gd name="T21" fmla="*/ 9 h 30"/>
                    <a:gd name="T22" fmla="*/ 28 w 30"/>
                    <a:gd name="T23" fmla="*/ 6 h 30"/>
                    <a:gd name="T24" fmla="*/ 26 w 30"/>
                    <a:gd name="T25" fmla="*/ 4 h 30"/>
                    <a:gd name="T26" fmla="*/ 24 w 30"/>
                    <a:gd name="T27" fmla="*/ 3 h 30"/>
                    <a:gd name="T28" fmla="*/ 21 w 30"/>
                    <a:gd name="T29" fmla="*/ 1 h 30"/>
                    <a:gd name="T30" fmla="*/ 18 w 30"/>
                    <a:gd name="T31" fmla="*/ 1 h 30"/>
                    <a:gd name="T32" fmla="*/ 15 w 30"/>
                    <a:gd name="T33" fmla="*/ 0 h 30"/>
                    <a:gd name="T34" fmla="*/ 12 w 30"/>
                    <a:gd name="T35" fmla="*/ 1 h 30"/>
                    <a:gd name="T36" fmla="*/ 10 w 30"/>
                    <a:gd name="T37" fmla="*/ 1 h 30"/>
                    <a:gd name="T38" fmla="*/ 6 w 30"/>
                    <a:gd name="T39" fmla="*/ 3 h 30"/>
                    <a:gd name="T40" fmla="*/ 4 w 30"/>
                    <a:gd name="T41" fmla="*/ 4 h 30"/>
                    <a:gd name="T42" fmla="*/ 3 w 30"/>
                    <a:gd name="T43" fmla="*/ 7 h 30"/>
                    <a:gd name="T44" fmla="*/ 1 w 30"/>
                    <a:gd name="T45" fmla="*/ 9 h 30"/>
                    <a:gd name="T46" fmla="*/ 0 w 30"/>
                    <a:gd name="T47" fmla="*/ 12 h 30"/>
                    <a:gd name="T48" fmla="*/ 0 w 30"/>
                    <a:gd name="T49" fmla="*/ 15 h 30"/>
                    <a:gd name="T50" fmla="*/ 0 w 30"/>
                    <a:gd name="T51" fmla="*/ 18 h 30"/>
                    <a:gd name="T52" fmla="*/ 1 w 30"/>
                    <a:gd name="T53" fmla="*/ 21 h 30"/>
                    <a:gd name="T54" fmla="*/ 3 w 30"/>
                    <a:gd name="T55" fmla="*/ 23 h 30"/>
                    <a:gd name="T56" fmla="*/ 4 w 30"/>
                    <a:gd name="T57" fmla="*/ 25 h 30"/>
                    <a:gd name="T58" fmla="*/ 6 w 30"/>
                    <a:gd name="T59" fmla="*/ 28 h 30"/>
                    <a:gd name="T60" fmla="*/ 10 w 30"/>
                    <a:gd name="T61" fmla="*/ 29 h 30"/>
                    <a:gd name="T62" fmla="*/ 12 w 30"/>
                    <a:gd name="T63" fmla="*/ 30 h 30"/>
                    <a:gd name="T64" fmla="*/ 15 w 30"/>
                    <a:gd name="T6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30"/>
                      </a:moveTo>
                      <a:lnTo>
                        <a:pt x="18" y="30"/>
                      </a:lnTo>
                      <a:lnTo>
                        <a:pt x="21" y="29"/>
                      </a:lnTo>
                      <a:lnTo>
                        <a:pt x="24" y="28"/>
                      </a:lnTo>
                      <a:lnTo>
                        <a:pt x="26" y="25"/>
                      </a:lnTo>
                      <a:lnTo>
                        <a:pt x="28" y="23"/>
                      </a:lnTo>
                      <a:lnTo>
                        <a:pt x="29" y="21"/>
                      </a:lnTo>
                      <a:lnTo>
                        <a:pt x="30" y="18"/>
                      </a:lnTo>
                      <a:lnTo>
                        <a:pt x="30" y="15"/>
                      </a:lnTo>
                      <a:lnTo>
                        <a:pt x="30" y="12"/>
                      </a:lnTo>
                      <a:lnTo>
                        <a:pt x="29" y="9"/>
                      </a:lnTo>
                      <a:lnTo>
                        <a:pt x="28" y="6"/>
                      </a:lnTo>
                      <a:lnTo>
                        <a:pt x="26" y="4"/>
                      </a:lnTo>
                      <a:lnTo>
                        <a:pt x="24" y="3"/>
                      </a:lnTo>
                      <a:lnTo>
                        <a:pt x="21" y="1"/>
                      </a:lnTo>
                      <a:lnTo>
                        <a:pt x="18" y="1"/>
                      </a:lnTo>
                      <a:lnTo>
                        <a:pt x="15" y="0"/>
                      </a:lnTo>
                      <a:lnTo>
                        <a:pt x="12" y="1"/>
                      </a:lnTo>
                      <a:lnTo>
                        <a:pt x="10" y="1"/>
                      </a:lnTo>
                      <a:lnTo>
                        <a:pt x="6" y="3"/>
                      </a:lnTo>
                      <a:lnTo>
                        <a:pt x="4" y="4"/>
                      </a:lnTo>
                      <a:lnTo>
                        <a:pt x="3" y="7"/>
                      </a:lnTo>
                      <a:lnTo>
                        <a:pt x="1" y="9"/>
                      </a:lnTo>
                      <a:lnTo>
                        <a:pt x="0" y="12"/>
                      </a:lnTo>
                      <a:lnTo>
                        <a:pt x="0" y="15"/>
                      </a:lnTo>
                      <a:lnTo>
                        <a:pt x="0" y="18"/>
                      </a:lnTo>
                      <a:lnTo>
                        <a:pt x="1" y="21"/>
                      </a:lnTo>
                      <a:lnTo>
                        <a:pt x="3" y="23"/>
                      </a:lnTo>
                      <a:lnTo>
                        <a:pt x="4" y="25"/>
                      </a:lnTo>
                      <a:lnTo>
                        <a:pt x="6" y="28"/>
                      </a:lnTo>
                      <a:lnTo>
                        <a:pt x="10"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7" name="Freeform 227">
                  <a:extLst>
                    <a:ext uri="{FF2B5EF4-FFF2-40B4-BE49-F238E27FC236}">
                      <a16:creationId xmlns:a16="http://schemas.microsoft.com/office/drawing/2014/main" id="{32A2CF5A-1981-42B9-BA45-BBC59F8E153E}"/>
                    </a:ext>
                  </a:extLst>
                </p:cNvPr>
                <p:cNvSpPr>
                  <a:spLocks/>
                </p:cNvSpPr>
                <p:nvPr/>
              </p:nvSpPr>
              <p:spPr bwMode="auto">
                <a:xfrm>
                  <a:off x="3278188" y="2078038"/>
                  <a:ext cx="9525" cy="9525"/>
                </a:xfrm>
                <a:custGeom>
                  <a:avLst/>
                  <a:gdLst>
                    <a:gd name="T0" fmla="*/ 15 w 30"/>
                    <a:gd name="T1" fmla="*/ 0 h 31"/>
                    <a:gd name="T2" fmla="*/ 12 w 30"/>
                    <a:gd name="T3" fmla="*/ 1 h 31"/>
                    <a:gd name="T4" fmla="*/ 9 w 30"/>
                    <a:gd name="T5" fmla="*/ 2 h 31"/>
                    <a:gd name="T6" fmla="*/ 6 w 30"/>
                    <a:gd name="T7" fmla="*/ 3 h 31"/>
                    <a:gd name="T8" fmla="*/ 4 w 30"/>
                    <a:gd name="T9" fmla="*/ 5 h 31"/>
                    <a:gd name="T10" fmla="*/ 2 w 30"/>
                    <a:gd name="T11" fmla="*/ 7 h 31"/>
                    <a:gd name="T12" fmla="*/ 1 w 30"/>
                    <a:gd name="T13" fmla="*/ 9 h 31"/>
                    <a:gd name="T14" fmla="*/ 0 w 30"/>
                    <a:gd name="T15" fmla="*/ 13 h 31"/>
                    <a:gd name="T16" fmla="*/ 0 w 30"/>
                    <a:gd name="T17" fmla="*/ 16 h 31"/>
                    <a:gd name="T18" fmla="*/ 0 w 30"/>
                    <a:gd name="T19" fmla="*/ 18 h 31"/>
                    <a:gd name="T20" fmla="*/ 1 w 30"/>
                    <a:gd name="T21" fmla="*/ 21 h 31"/>
                    <a:gd name="T22" fmla="*/ 2 w 30"/>
                    <a:gd name="T23" fmla="*/ 23 h 31"/>
                    <a:gd name="T24" fmla="*/ 4 w 30"/>
                    <a:gd name="T25" fmla="*/ 25 h 31"/>
                    <a:gd name="T26" fmla="*/ 6 w 30"/>
                    <a:gd name="T27" fmla="*/ 28 h 31"/>
                    <a:gd name="T28" fmla="*/ 9 w 30"/>
                    <a:gd name="T29" fmla="*/ 29 h 31"/>
                    <a:gd name="T30" fmla="*/ 12 w 30"/>
                    <a:gd name="T31" fmla="*/ 30 h 31"/>
                    <a:gd name="T32" fmla="*/ 15 w 30"/>
                    <a:gd name="T33" fmla="*/ 31 h 31"/>
                    <a:gd name="T34" fmla="*/ 18 w 30"/>
                    <a:gd name="T35" fmla="*/ 30 h 31"/>
                    <a:gd name="T36" fmla="*/ 20 w 30"/>
                    <a:gd name="T37" fmla="*/ 29 h 31"/>
                    <a:gd name="T38" fmla="*/ 24 w 30"/>
                    <a:gd name="T39" fmla="*/ 28 h 31"/>
                    <a:gd name="T40" fmla="*/ 26 w 30"/>
                    <a:gd name="T41" fmla="*/ 25 h 31"/>
                    <a:gd name="T42" fmla="*/ 27 w 30"/>
                    <a:gd name="T43" fmla="*/ 23 h 31"/>
                    <a:gd name="T44" fmla="*/ 29 w 30"/>
                    <a:gd name="T45" fmla="*/ 21 h 31"/>
                    <a:gd name="T46" fmla="*/ 30 w 30"/>
                    <a:gd name="T47" fmla="*/ 18 h 31"/>
                    <a:gd name="T48" fmla="*/ 30 w 30"/>
                    <a:gd name="T49" fmla="*/ 16 h 31"/>
                    <a:gd name="T50" fmla="*/ 30 w 30"/>
                    <a:gd name="T51" fmla="*/ 13 h 31"/>
                    <a:gd name="T52" fmla="*/ 29 w 30"/>
                    <a:gd name="T53" fmla="*/ 9 h 31"/>
                    <a:gd name="T54" fmla="*/ 27 w 30"/>
                    <a:gd name="T55" fmla="*/ 7 h 31"/>
                    <a:gd name="T56" fmla="*/ 26 w 30"/>
                    <a:gd name="T57" fmla="*/ 5 h 31"/>
                    <a:gd name="T58" fmla="*/ 24 w 30"/>
                    <a:gd name="T59" fmla="*/ 3 h 31"/>
                    <a:gd name="T60" fmla="*/ 20 w 30"/>
                    <a:gd name="T61" fmla="*/ 2 h 31"/>
                    <a:gd name="T62" fmla="*/ 18 w 30"/>
                    <a:gd name="T63" fmla="*/ 1 h 31"/>
                    <a:gd name="T64" fmla="*/ 15 w 30"/>
                    <a:gd name="T65" fmla="*/ 1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9" y="2"/>
                      </a:lnTo>
                      <a:lnTo>
                        <a:pt x="6" y="3"/>
                      </a:lnTo>
                      <a:lnTo>
                        <a:pt x="4" y="5"/>
                      </a:lnTo>
                      <a:lnTo>
                        <a:pt x="2" y="7"/>
                      </a:lnTo>
                      <a:lnTo>
                        <a:pt x="1" y="9"/>
                      </a:lnTo>
                      <a:lnTo>
                        <a:pt x="0" y="13"/>
                      </a:lnTo>
                      <a:lnTo>
                        <a:pt x="0" y="16"/>
                      </a:lnTo>
                      <a:lnTo>
                        <a:pt x="0" y="18"/>
                      </a:lnTo>
                      <a:lnTo>
                        <a:pt x="1" y="21"/>
                      </a:lnTo>
                      <a:lnTo>
                        <a:pt x="2" y="23"/>
                      </a:lnTo>
                      <a:lnTo>
                        <a:pt x="4" y="25"/>
                      </a:lnTo>
                      <a:lnTo>
                        <a:pt x="6" y="28"/>
                      </a:lnTo>
                      <a:lnTo>
                        <a:pt x="9" y="29"/>
                      </a:lnTo>
                      <a:lnTo>
                        <a:pt x="12" y="30"/>
                      </a:lnTo>
                      <a:lnTo>
                        <a:pt x="15" y="31"/>
                      </a:lnTo>
                      <a:lnTo>
                        <a:pt x="18" y="30"/>
                      </a:lnTo>
                      <a:lnTo>
                        <a:pt x="20" y="29"/>
                      </a:lnTo>
                      <a:lnTo>
                        <a:pt x="24" y="28"/>
                      </a:lnTo>
                      <a:lnTo>
                        <a:pt x="26" y="25"/>
                      </a:lnTo>
                      <a:lnTo>
                        <a:pt x="27" y="23"/>
                      </a:lnTo>
                      <a:lnTo>
                        <a:pt x="29" y="21"/>
                      </a:lnTo>
                      <a:lnTo>
                        <a:pt x="30" y="18"/>
                      </a:lnTo>
                      <a:lnTo>
                        <a:pt x="30" y="16"/>
                      </a:lnTo>
                      <a:lnTo>
                        <a:pt x="30" y="13"/>
                      </a:lnTo>
                      <a:lnTo>
                        <a:pt x="29" y="9"/>
                      </a:lnTo>
                      <a:lnTo>
                        <a:pt x="27" y="7"/>
                      </a:lnTo>
                      <a:lnTo>
                        <a:pt x="26" y="5"/>
                      </a:lnTo>
                      <a:lnTo>
                        <a:pt x="24" y="3"/>
                      </a:lnTo>
                      <a:lnTo>
                        <a:pt x="20" y="2"/>
                      </a:lnTo>
                      <a:lnTo>
                        <a:pt x="18" y="1"/>
                      </a:lnTo>
                      <a:lnTo>
                        <a:pt x="15"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8" name="Freeform 228">
                  <a:extLst>
                    <a:ext uri="{FF2B5EF4-FFF2-40B4-BE49-F238E27FC236}">
                      <a16:creationId xmlns:a16="http://schemas.microsoft.com/office/drawing/2014/main" id="{108562B5-5633-4CF4-898D-822B9818A839}"/>
                    </a:ext>
                  </a:extLst>
                </p:cNvPr>
                <p:cNvSpPr>
                  <a:spLocks/>
                </p:cNvSpPr>
                <p:nvPr/>
              </p:nvSpPr>
              <p:spPr bwMode="auto">
                <a:xfrm>
                  <a:off x="3297238" y="2078038"/>
                  <a:ext cx="9525" cy="9525"/>
                </a:xfrm>
                <a:custGeom>
                  <a:avLst/>
                  <a:gdLst>
                    <a:gd name="T0" fmla="*/ 15 w 30"/>
                    <a:gd name="T1" fmla="*/ 0 h 31"/>
                    <a:gd name="T2" fmla="*/ 12 w 30"/>
                    <a:gd name="T3" fmla="*/ 1 h 31"/>
                    <a:gd name="T4" fmla="*/ 10 w 30"/>
                    <a:gd name="T5" fmla="*/ 2 h 31"/>
                    <a:gd name="T6" fmla="*/ 6 w 30"/>
                    <a:gd name="T7" fmla="*/ 3 h 31"/>
                    <a:gd name="T8" fmla="*/ 4 w 30"/>
                    <a:gd name="T9" fmla="*/ 5 h 31"/>
                    <a:gd name="T10" fmla="*/ 2 w 30"/>
                    <a:gd name="T11" fmla="*/ 7 h 31"/>
                    <a:gd name="T12" fmla="*/ 1 w 30"/>
                    <a:gd name="T13" fmla="*/ 9 h 31"/>
                    <a:gd name="T14" fmla="*/ 0 w 30"/>
                    <a:gd name="T15" fmla="*/ 13 h 31"/>
                    <a:gd name="T16" fmla="*/ 0 w 30"/>
                    <a:gd name="T17" fmla="*/ 16 h 31"/>
                    <a:gd name="T18" fmla="*/ 0 w 30"/>
                    <a:gd name="T19" fmla="*/ 18 h 31"/>
                    <a:gd name="T20" fmla="*/ 1 w 30"/>
                    <a:gd name="T21" fmla="*/ 21 h 31"/>
                    <a:gd name="T22" fmla="*/ 2 w 30"/>
                    <a:gd name="T23" fmla="*/ 23 h 31"/>
                    <a:gd name="T24" fmla="*/ 4 w 30"/>
                    <a:gd name="T25" fmla="*/ 25 h 31"/>
                    <a:gd name="T26" fmla="*/ 6 w 30"/>
                    <a:gd name="T27" fmla="*/ 28 h 31"/>
                    <a:gd name="T28" fmla="*/ 10 w 30"/>
                    <a:gd name="T29" fmla="*/ 29 h 31"/>
                    <a:gd name="T30" fmla="*/ 12 w 30"/>
                    <a:gd name="T31" fmla="*/ 30 h 31"/>
                    <a:gd name="T32" fmla="*/ 15 w 30"/>
                    <a:gd name="T33" fmla="*/ 31 h 31"/>
                    <a:gd name="T34" fmla="*/ 18 w 30"/>
                    <a:gd name="T35" fmla="*/ 30 h 31"/>
                    <a:gd name="T36" fmla="*/ 20 w 30"/>
                    <a:gd name="T37" fmla="*/ 29 h 31"/>
                    <a:gd name="T38" fmla="*/ 24 w 30"/>
                    <a:gd name="T39" fmla="*/ 28 h 31"/>
                    <a:gd name="T40" fmla="*/ 26 w 30"/>
                    <a:gd name="T41" fmla="*/ 25 h 31"/>
                    <a:gd name="T42" fmla="*/ 28 w 30"/>
                    <a:gd name="T43" fmla="*/ 23 h 31"/>
                    <a:gd name="T44" fmla="*/ 29 w 30"/>
                    <a:gd name="T45" fmla="*/ 21 h 31"/>
                    <a:gd name="T46" fmla="*/ 30 w 30"/>
                    <a:gd name="T47" fmla="*/ 18 h 31"/>
                    <a:gd name="T48" fmla="*/ 30 w 30"/>
                    <a:gd name="T49" fmla="*/ 16 h 31"/>
                    <a:gd name="T50" fmla="*/ 30 w 30"/>
                    <a:gd name="T51" fmla="*/ 13 h 31"/>
                    <a:gd name="T52" fmla="*/ 29 w 30"/>
                    <a:gd name="T53" fmla="*/ 9 h 31"/>
                    <a:gd name="T54" fmla="*/ 28 w 30"/>
                    <a:gd name="T55" fmla="*/ 7 h 31"/>
                    <a:gd name="T56" fmla="*/ 26 w 30"/>
                    <a:gd name="T57" fmla="*/ 5 h 31"/>
                    <a:gd name="T58" fmla="*/ 24 w 30"/>
                    <a:gd name="T59" fmla="*/ 3 h 31"/>
                    <a:gd name="T60" fmla="*/ 20 w 30"/>
                    <a:gd name="T61" fmla="*/ 2 h 31"/>
                    <a:gd name="T62" fmla="*/ 18 w 30"/>
                    <a:gd name="T63" fmla="*/ 1 h 31"/>
                    <a:gd name="T64" fmla="*/ 15 w 30"/>
                    <a:gd name="T65" fmla="*/ 1 h 31"/>
                    <a:gd name="T66" fmla="*/ 15 w 30"/>
                    <a:gd name="T6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1">
                      <a:moveTo>
                        <a:pt x="15" y="0"/>
                      </a:moveTo>
                      <a:lnTo>
                        <a:pt x="12" y="1"/>
                      </a:lnTo>
                      <a:lnTo>
                        <a:pt x="10" y="2"/>
                      </a:lnTo>
                      <a:lnTo>
                        <a:pt x="6" y="3"/>
                      </a:lnTo>
                      <a:lnTo>
                        <a:pt x="4" y="5"/>
                      </a:lnTo>
                      <a:lnTo>
                        <a:pt x="2" y="7"/>
                      </a:lnTo>
                      <a:lnTo>
                        <a:pt x="1" y="9"/>
                      </a:lnTo>
                      <a:lnTo>
                        <a:pt x="0" y="13"/>
                      </a:lnTo>
                      <a:lnTo>
                        <a:pt x="0" y="16"/>
                      </a:lnTo>
                      <a:lnTo>
                        <a:pt x="0" y="18"/>
                      </a:lnTo>
                      <a:lnTo>
                        <a:pt x="1" y="21"/>
                      </a:lnTo>
                      <a:lnTo>
                        <a:pt x="2" y="23"/>
                      </a:lnTo>
                      <a:lnTo>
                        <a:pt x="4" y="25"/>
                      </a:lnTo>
                      <a:lnTo>
                        <a:pt x="6" y="28"/>
                      </a:lnTo>
                      <a:lnTo>
                        <a:pt x="10" y="29"/>
                      </a:lnTo>
                      <a:lnTo>
                        <a:pt x="12" y="30"/>
                      </a:lnTo>
                      <a:lnTo>
                        <a:pt x="15" y="31"/>
                      </a:lnTo>
                      <a:lnTo>
                        <a:pt x="18" y="30"/>
                      </a:lnTo>
                      <a:lnTo>
                        <a:pt x="20" y="29"/>
                      </a:lnTo>
                      <a:lnTo>
                        <a:pt x="24" y="28"/>
                      </a:lnTo>
                      <a:lnTo>
                        <a:pt x="26" y="25"/>
                      </a:lnTo>
                      <a:lnTo>
                        <a:pt x="28" y="23"/>
                      </a:lnTo>
                      <a:lnTo>
                        <a:pt x="29" y="21"/>
                      </a:lnTo>
                      <a:lnTo>
                        <a:pt x="30" y="18"/>
                      </a:lnTo>
                      <a:lnTo>
                        <a:pt x="30" y="16"/>
                      </a:lnTo>
                      <a:lnTo>
                        <a:pt x="30" y="13"/>
                      </a:lnTo>
                      <a:lnTo>
                        <a:pt x="29" y="9"/>
                      </a:lnTo>
                      <a:lnTo>
                        <a:pt x="28" y="7"/>
                      </a:lnTo>
                      <a:lnTo>
                        <a:pt x="26" y="5"/>
                      </a:lnTo>
                      <a:lnTo>
                        <a:pt x="24" y="3"/>
                      </a:lnTo>
                      <a:lnTo>
                        <a:pt x="20" y="2"/>
                      </a:lnTo>
                      <a:lnTo>
                        <a:pt x="18" y="1"/>
                      </a:lnTo>
                      <a:lnTo>
                        <a:pt x="15" y="1"/>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09" name="Freeform 229">
                  <a:extLst>
                    <a:ext uri="{FF2B5EF4-FFF2-40B4-BE49-F238E27FC236}">
                      <a16:creationId xmlns:a16="http://schemas.microsoft.com/office/drawing/2014/main" id="{140C9239-6BA7-4F98-80CC-BFDC8E4DFC98}"/>
                    </a:ext>
                  </a:extLst>
                </p:cNvPr>
                <p:cNvSpPr>
                  <a:spLocks/>
                </p:cNvSpPr>
                <p:nvPr/>
              </p:nvSpPr>
              <p:spPr bwMode="auto">
                <a:xfrm>
                  <a:off x="3278188" y="2106613"/>
                  <a:ext cx="9525" cy="9525"/>
                </a:xfrm>
                <a:custGeom>
                  <a:avLst/>
                  <a:gdLst>
                    <a:gd name="T0" fmla="*/ 15 w 30"/>
                    <a:gd name="T1" fmla="*/ 0 h 30"/>
                    <a:gd name="T2" fmla="*/ 12 w 30"/>
                    <a:gd name="T3" fmla="*/ 0 h 30"/>
                    <a:gd name="T4" fmla="*/ 9 w 30"/>
                    <a:gd name="T5" fmla="*/ 1 h 30"/>
                    <a:gd name="T6" fmla="*/ 6 w 30"/>
                    <a:gd name="T7" fmla="*/ 2 h 30"/>
                    <a:gd name="T8" fmla="*/ 4 w 30"/>
                    <a:gd name="T9" fmla="*/ 4 h 30"/>
                    <a:gd name="T10" fmla="*/ 2 w 30"/>
                    <a:gd name="T11" fmla="*/ 6 h 30"/>
                    <a:gd name="T12" fmla="*/ 1 w 30"/>
                    <a:gd name="T13" fmla="*/ 8 h 30"/>
                    <a:gd name="T14" fmla="*/ 0 w 30"/>
                    <a:gd name="T15" fmla="*/ 12 h 30"/>
                    <a:gd name="T16" fmla="*/ 0 w 30"/>
                    <a:gd name="T17" fmla="*/ 15 h 30"/>
                    <a:gd name="T18" fmla="*/ 0 w 30"/>
                    <a:gd name="T19" fmla="*/ 18 h 30"/>
                    <a:gd name="T20" fmla="*/ 1 w 30"/>
                    <a:gd name="T21" fmla="*/ 20 h 30"/>
                    <a:gd name="T22" fmla="*/ 2 w 30"/>
                    <a:gd name="T23" fmla="*/ 23 h 30"/>
                    <a:gd name="T24" fmla="*/ 4 w 30"/>
                    <a:gd name="T25" fmla="*/ 26 h 30"/>
                    <a:gd name="T26" fmla="*/ 6 w 30"/>
                    <a:gd name="T27" fmla="*/ 27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7 h 30"/>
                    <a:gd name="T40" fmla="*/ 26 w 30"/>
                    <a:gd name="T41" fmla="*/ 26 h 30"/>
                    <a:gd name="T42" fmla="*/ 27 w 30"/>
                    <a:gd name="T43" fmla="*/ 23 h 30"/>
                    <a:gd name="T44" fmla="*/ 29 w 30"/>
                    <a:gd name="T45" fmla="*/ 20 h 30"/>
                    <a:gd name="T46" fmla="*/ 30 w 30"/>
                    <a:gd name="T47" fmla="*/ 18 h 30"/>
                    <a:gd name="T48" fmla="*/ 30 w 30"/>
                    <a:gd name="T49" fmla="*/ 15 h 30"/>
                    <a:gd name="T50" fmla="*/ 30 w 30"/>
                    <a:gd name="T51" fmla="*/ 12 h 30"/>
                    <a:gd name="T52" fmla="*/ 29 w 30"/>
                    <a:gd name="T53" fmla="*/ 8 h 30"/>
                    <a:gd name="T54" fmla="*/ 27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9" y="1"/>
                      </a:lnTo>
                      <a:lnTo>
                        <a:pt x="6" y="2"/>
                      </a:lnTo>
                      <a:lnTo>
                        <a:pt x="4" y="4"/>
                      </a:lnTo>
                      <a:lnTo>
                        <a:pt x="2" y="6"/>
                      </a:lnTo>
                      <a:lnTo>
                        <a:pt x="1" y="8"/>
                      </a:lnTo>
                      <a:lnTo>
                        <a:pt x="0" y="12"/>
                      </a:lnTo>
                      <a:lnTo>
                        <a:pt x="0" y="15"/>
                      </a:lnTo>
                      <a:lnTo>
                        <a:pt x="0" y="18"/>
                      </a:lnTo>
                      <a:lnTo>
                        <a:pt x="1" y="20"/>
                      </a:lnTo>
                      <a:lnTo>
                        <a:pt x="2" y="23"/>
                      </a:lnTo>
                      <a:lnTo>
                        <a:pt x="4" y="26"/>
                      </a:lnTo>
                      <a:lnTo>
                        <a:pt x="6" y="27"/>
                      </a:lnTo>
                      <a:lnTo>
                        <a:pt x="9" y="29"/>
                      </a:lnTo>
                      <a:lnTo>
                        <a:pt x="12" y="30"/>
                      </a:lnTo>
                      <a:lnTo>
                        <a:pt x="15" y="30"/>
                      </a:lnTo>
                      <a:lnTo>
                        <a:pt x="18" y="30"/>
                      </a:lnTo>
                      <a:lnTo>
                        <a:pt x="20" y="29"/>
                      </a:lnTo>
                      <a:lnTo>
                        <a:pt x="24" y="27"/>
                      </a:lnTo>
                      <a:lnTo>
                        <a:pt x="26" y="26"/>
                      </a:lnTo>
                      <a:lnTo>
                        <a:pt x="27" y="23"/>
                      </a:lnTo>
                      <a:lnTo>
                        <a:pt x="29" y="20"/>
                      </a:lnTo>
                      <a:lnTo>
                        <a:pt x="30" y="18"/>
                      </a:lnTo>
                      <a:lnTo>
                        <a:pt x="30" y="15"/>
                      </a:lnTo>
                      <a:lnTo>
                        <a:pt x="30" y="12"/>
                      </a:lnTo>
                      <a:lnTo>
                        <a:pt x="29" y="8"/>
                      </a:lnTo>
                      <a:lnTo>
                        <a:pt x="27"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10" name="Freeform 230">
                  <a:extLst>
                    <a:ext uri="{FF2B5EF4-FFF2-40B4-BE49-F238E27FC236}">
                      <a16:creationId xmlns:a16="http://schemas.microsoft.com/office/drawing/2014/main" id="{62CABC1C-F229-4357-8BFB-7BDC9AA3EE0A}"/>
                    </a:ext>
                  </a:extLst>
                </p:cNvPr>
                <p:cNvSpPr>
                  <a:spLocks/>
                </p:cNvSpPr>
                <p:nvPr/>
              </p:nvSpPr>
              <p:spPr bwMode="auto">
                <a:xfrm>
                  <a:off x="3297238" y="2106613"/>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8 h 30"/>
                    <a:gd name="T14" fmla="*/ 0 w 30"/>
                    <a:gd name="T15" fmla="*/ 12 h 30"/>
                    <a:gd name="T16" fmla="*/ 0 w 30"/>
                    <a:gd name="T17" fmla="*/ 15 h 30"/>
                    <a:gd name="T18" fmla="*/ 0 w 30"/>
                    <a:gd name="T19" fmla="*/ 18 h 30"/>
                    <a:gd name="T20" fmla="*/ 1 w 30"/>
                    <a:gd name="T21" fmla="*/ 20 h 30"/>
                    <a:gd name="T22" fmla="*/ 2 w 30"/>
                    <a:gd name="T23" fmla="*/ 23 h 30"/>
                    <a:gd name="T24" fmla="*/ 4 w 30"/>
                    <a:gd name="T25" fmla="*/ 26 h 30"/>
                    <a:gd name="T26" fmla="*/ 6 w 30"/>
                    <a:gd name="T27" fmla="*/ 27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7 h 30"/>
                    <a:gd name="T40" fmla="*/ 26 w 30"/>
                    <a:gd name="T41" fmla="*/ 26 h 30"/>
                    <a:gd name="T42" fmla="*/ 28 w 30"/>
                    <a:gd name="T43" fmla="*/ 23 h 30"/>
                    <a:gd name="T44" fmla="*/ 29 w 30"/>
                    <a:gd name="T45" fmla="*/ 20 h 30"/>
                    <a:gd name="T46" fmla="*/ 30 w 30"/>
                    <a:gd name="T47" fmla="*/ 18 h 30"/>
                    <a:gd name="T48" fmla="*/ 30 w 30"/>
                    <a:gd name="T49" fmla="*/ 15 h 30"/>
                    <a:gd name="T50" fmla="*/ 30 w 30"/>
                    <a:gd name="T51" fmla="*/ 12 h 30"/>
                    <a:gd name="T52" fmla="*/ 29 w 30"/>
                    <a:gd name="T53" fmla="*/ 8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0">
                      <a:moveTo>
                        <a:pt x="15" y="0"/>
                      </a:moveTo>
                      <a:lnTo>
                        <a:pt x="12" y="0"/>
                      </a:lnTo>
                      <a:lnTo>
                        <a:pt x="10" y="1"/>
                      </a:lnTo>
                      <a:lnTo>
                        <a:pt x="6" y="2"/>
                      </a:lnTo>
                      <a:lnTo>
                        <a:pt x="4" y="4"/>
                      </a:lnTo>
                      <a:lnTo>
                        <a:pt x="2" y="6"/>
                      </a:lnTo>
                      <a:lnTo>
                        <a:pt x="1" y="8"/>
                      </a:lnTo>
                      <a:lnTo>
                        <a:pt x="0" y="12"/>
                      </a:lnTo>
                      <a:lnTo>
                        <a:pt x="0" y="15"/>
                      </a:lnTo>
                      <a:lnTo>
                        <a:pt x="0" y="18"/>
                      </a:lnTo>
                      <a:lnTo>
                        <a:pt x="1" y="20"/>
                      </a:lnTo>
                      <a:lnTo>
                        <a:pt x="2" y="23"/>
                      </a:lnTo>
                      <a:lnTo>
                        <a:pt x="4" y="26"/>
                      </a:lnTo>
                      <a:lnTo>
                        <a:pt x="6" y="27"/>
                      </a:lnTo>
                      <a:lnTo>
                        <a:pt x="10" y="29"/>
                      </a:lnTo>
                      <a:lnTo>
                        <a:pt x="12" y="30"/>
                      </a:lnTo>
                      <a:lnTo>
                        <a:pt x="15" y="30"/>
                      </a:lnTo>
                      <a:lnTo>
                        <a:pt x="18" y="30"/>
                      </a:lnTo>
                      <a:lnTo>
                        <a:pt x="20" y="29"/>
                      </a:lnTo>
                      <a:lnTo>
                        <a:pt x="24" y="27"/>
                      </a:lnTo>
                      <a:lnTo>
                        <a:pt x="26" y="26"/>
                      </a:lnTo>
                      <a:lnTo>
                        <a:pt x="28" y="23"/>
                      </a:lnTo>
                      <a:lnTo>
                        <a:pt x="29" y="20"/>
                      </a:lnTo>
                      <a:lnTo>
                        <a:pt x="30" y="18"/>
                      </a:lnTo>
                      <a:lnTo>
                        <a:pt x="30" y="15"/>
                      </a:lnTo>
                      <a:lnTo>
                        <a:pt x="30" y="12"/>
                      </a:lnTo>
                      <a:lnTo>
                        <a:pt x="29" y="8"/>
                      </a:lnTo>
                      <a:lnTo>
                        <a:pt x="28" y="6"/>
                      </a:lnTo>
                      <a:lnTo>
                        <a:pt x="26" y="4"/>
                      </a:lnTo>
                      <a:lnTo>
                        <a:pt x="24" y="2"/>
                      </a:lnTo>
                      <a:lnTo>
                        <a:pt x="20" y="1"/>
                      </a:lnTo>
                      <a:lnTo>
                        <a:pt x="18"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11" name="Freeform 231">
                  <a:extLst>
                    <a:ext uri="{FF2B5EF4-FFF2-40B4-BE49-F238E27FC236}">
                      <a16:creationId xmlns:a16="http://schemas.microsoft.com/office/drawing/2014/main" id="{61ED2272-ECB3-4261-8D4A-C877365C6304}"/>
                    </a:ext>
                  </a:extLst>
                </p:cNvPr>
                <p:cNvSpPr>
                  <a:spLocks/>
                </p:cNvSpPr>
                <p:nvPr/>
              </p:nvSpPr>
              <p:spPr bwMode="auto">
                <a:xfrm>
                  <a:off x="3278188" y="2135188"/>
                  <a:ext cx="9525" cy="9525"/>
                </a:xfrm>
                <a:custGeom>
                  <a:avLst/>
                  <a:gdLst>
                    <a:gd name="T0" fmla="*/ 15 w 30"/>
                    <a:gd name="T1" fmla="*/ 0 h 30"/>
                    <a:gd name="T2" fmla="*/ 12 w 30"/>
                    <a:gd name="T3" fmla="*/ 0 h 30"/>
                    <a:gd name="T4" fmla="*/ 9 w 30"/>
                    <a:gd name="T5" fmla="*/ 1 h 30"/>
                    <a:gd name="T6" fmla="*/ 6 w 30"/>
                    <a:gd name="T7" fmla="*/ 2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0 h 30"/>
                    <a:gd name="T22" fmla="*/ 2 w 30"/>
                    <a:gd name="T23" fmla="*/ 24 h 30"/>
                    <a:gd name="T24" fmla="*/ 4 w 30"/>
                    <a:gd name="T25" fmla="*/ 26 h 30"/>
                    <a:gd name="T26" fmla="*/ 6 w 30"/>
                    <a:gd name="T27" fmla="*/ 28 h 30"/>
                    <a:gd name="T28" fmla="*/ 9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6 h 30"/>
                    <a:gd name="T42" fmla="*/ 27 w 30"/>
                    <a:gd name="T43" fmla="*/ 24 h 30"/>
                    <a:gd name="T44" fmla="*/ 29 w 30"/>
                    <a:gd name="T45" fmla="*/ 20 h 30"/>
                    <a:gd name="T46" fmla="*/ 30 w 30"/>
                    <a:gd name="T47" fmla="*/ 18 h 30"/>
                    <a:gd name="T48" fmla="*/ 30 w 30"/>
                    <a:gd name="T49" fmla="*/ 15 h 30"/>
                    <a:gd name="T50" fmla="*/ 30 w 30"/>
                    <a:gd name="T51" fmla="*/ 12 h 30"/>
                    <a:gd name="T52" fmla="*/ 29 w 30"/>
                    <a:gd name="T53" fmla="*/ 10 h 30"/>
                    <a:gd name="T54" fmla="*/ 27 w 30"/>
                    <a:gd name="T55" fmla="*/ 6 h 30"/>
                    <a:gd name="T56" fmla="*/ 26 w 30"/>
                    <a:gd name="T57" fmla="*/ 4 h 30"/>
                    <a:gd name="T58" fmla="*/ 24 w 30"/>
                    <a:gd name="T59" fmla="*/ 2 h 30"/>
                    <a:gd name="T60" fmla="*/ 20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9" y="1"/>
                      </a:lnTo>
                      <a:lnTo>
                        <a:pt x="6" y="2"/>
                      </a:lnTo>
                      <a:lnTo>
                        <a:pt x="4" y="4"/>
                      </a:lnTo>
                      <a:lnTo>
                        <a:pt x="2" y="6"/>
                      </a:lnTo>
                      <a:lnTo>
                        <a:pt x="1" y="10"/>
                      </a:lnTo>
                      <a:lnTo>
                        <a:pt x="0" y="12"/>
                      </a:lnTo>
                      <a:lnTo>
                        <a:pt x="0" y="15"/>
                      </a:lnTo>
                      <a:lnTo>
                        <a:pt x="0" y="18"/>
                      </a:lnTo>
                      <a:lnTo>
                        <a:pt x="1" y="20"/>
                      </a:lnTo>
                      <a:lnTo>
                        <a:pt x="2" y="24"/>
                      </a:lnTo>
                      <a:lnTo>
                        <a:pt x="4" y="26"/>
                      </a:lnTo>
                      <a:lnTo>
                        <a:pt x="6" y="28"/>
                      </a:lnTo>
                      <a:lnTo>
                        <a:pt x="9" y="29"/>
                      </a:lnTo>
                      <a:lnTo>
                        <a:pt x="12" y="30"/>
                      </a:lnTo>
                      <a:lnTo>
                        <a:pt x="15" y="30"/>
                      </a:lnTo>
                      <a:lnTo>
                        <a:pt x="18" y="30"/>
                      </a:lnTo>
                      <a:lnTo>
                        <a:pt x="20" y="29"/>
                      </a:lnTo>
                      <a:lnTo>
                        <a:pt x="24" y="28"/>
                      </a:lnTo>
                      <a:lnTo>
                        <a:pt x="26" y="26"/>
                      </a:lnTo>
                      <a:lnTo>
                        <a:pt x="27" y="24"/>
                      </a:lnTo>
                      <a:lnTo>
                        <a:pt x="29" y="20"/>
                      </a:lnTo>
                      <a:lnTo>
                        <a:pt x="30" y="18"/>
                      </a:lnTo>
                      <a:lnTo>
                        <a:pt x="30" y="15"/>
                      </a:lnTo>
                      <a:lnTo>
                        <a:pt x="30" y="12"/>
                      </a:lnTo>
                      <a:lnTo>
                        <a:pt x="29" y="10"/>
                      </a:lnTo>
                      <a:lnTo>
                        <a:pt x="27"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12" name="Freeform 232">
                  <a:extLst>
                    <a:ext uri="{FF2B5EF4-FFF2-40B4-BE49-F238E27FC236}">
                      <a16:creationId xmlns:a16="http://schemas.microsoft.com/office/drawing/2014/main" id="{74445238-8FD1-461D-B094-7287220C0561}"/>
                    </a:ext>
                  </a:extLst>
                </p:cNvPr>
                <p:cNvSpPr>
                  <a:spLocks/>
                </p:cNvSpPr>
                <p:nvPr/>
              </p:nvSpPr>
              <p:spPr bwMode="auto">
                <a:xfrm>
                  <a:off x="3297238" y="2135188"/>
                  <a:ext cx="9525" cy="9525"/>
                </a:xfrm>
                <a:custGeom>
                  <a:avLst/>
                  <a:gdLst>
                    <a:gd name="T0" fmla="*/ 15 w 30"/>
                    <a:gd name="T1" fmla="*/ 0 h 30"/>
                    <a:gd name="T2" fmla="*/ 12 w 30"/>
                    <a:gd name="T3" fmla="*/ 0 h 30"/>
                    <a:gd name="T4" fmla="*/ 10 w 30"/>
                    <a:gd name="T5" fmla="*/ 1 h 30"/>
                    <a:gd name="T6" fmla="*/ 6 w 30"/>
                    <a:gd name="T7" fmla="*/ 2 h 30"/>
                    <a:gd name="T8" fmla="*/ 4 w 30"/>
                    <a:gd name="T9" fmla="*/ 4 h 30"/>
                    <a:gd name="T10" fmla="*/ 2 w 30"/>
                    <a:gd name="T11" fmla="*/ 6 h 30"/>
                    <a:gd name="T12" fmla="*/ 1 w 30"/>
                    <a:gd name="T13" fmla="*/ 10 h 30"/>
                    <a:gd name="T14" fmla="*/ 0 w 30"/>
                    <a:gd name="T15" fmla="*/ 12 h 30"/>
                    <a:gd name="T16" fmla="*/ 0 w 30"/>
                    <a:gd name="T17" fmla="*/ 15 h 30"/>
                    <a:gd name="T18" fmla="*/ 0 w 30"/>
                    <a:gd name="T19" fmla="*/ 18 h 30"/>
                    <a:gd name="T20" fmla="*/ 1 w 30"/>
                    <a:gd name="T21" fmla="*/ 20 h 30"/>
                    <a:gd name="T22" fmla="*/ 2 w 30"/>
                    <a:gd name="T23" fmla="*/ 24 h 30"/>
                    <a:gd name="T24" fmla="*/ 4 w 30"/>
                    <a:gd name="T25" fmla="*/ 26 h 30"/>
                    <a:gd name="T26" fmla="*/ 6 w 30"/>
                    <a:gd name="T27" fmla="*/ 28 h 30"/>
                    <a:gd name="T28" fmla="*/ 10 w 30"/>
                    <a:gd name="T29" fmla="*/ 29 h 30"/>
                    <a:gd name="T30" fmla="*/ 12 w 30"/>
                    <a:gd name="T31" fmla="*/ 30 h 30"/>
                    <a:gd name="T32" fmla="*/ 15 w 30"/>
                    <a:gd name="T33" fmla="*/ 30 h 30"/>
                    <a:gd name="T34" fmla="*/ 18 w 30"/>
                    <a:gd name="T35" fmla="*/ 30 h 30"/>
                    <a:gd name="T36" fmla="*/ 20 w 30"/>
                    <a:gd name="T37" fmla="*/ 29 h 30"/>
                    <a:gd name="T38" fmla="*/ 24 w 30"/>
                    <a:gd name="T39" fmla="*/ 28 h 30"/>
                    <a:gd name="T40" fmla="*/ 26 w 30"/>
                    <a:gd name="T41" fmla="*/ 26 h 30"/>
                    <a:gd name="T42" fmla="*/ 28 w 30"/>
                    <a:gd name="T43" fmla="*/ 24 h 30"/>
                    <a:gd name="T44" fmla="*/ 29 w 30"/>
                    <a:gd name="T45" fmla="*/ 20 h 30"/>
                    <a:gd name="T46" fmla="*/ 30 w 30"/>
                    <a:gd name="T47" fmla="*/ 18 h 30"/>
                    <a:gd name="T48" fmla="*/ 30 w 30"/>
                    <a:gd name="T49" fmla="*/ 15 h 30"/>
                    <a:gd name="T50" fmla="*/ 30 w 30"/>
                    <a:gd name="T51" fmla="*/ 12 h 30"/>
                    <a:gd name="T52" fmla="*/ 29 w 30"/>
                    <a:gd name="T53" fmla="*/ 10 h 30"/>
                    <a:gd name="T54" fmla="*/ 28 w 30"/>
                    <a:gd name="T55" fmla="*/ 6 h 30"/>
                    <a:gd name="T56" fmla="*/ 26 w 30"/>
                    <a:gd name="T57" fmla="*/ 4 h 30"/>
                    <a:gd name="T58" fmla="*/ 24 w 30"/>
                    <a:gd name="T59" fmla="*/ 2 h 30"/>
                    <a:gd name="T60" fmla="*/ 20 w 30"/>
                    <a:gd name="T61" fmla="*/ 1 h 30"/>
                    <a:gd name="T62" fmla="*/ 18 w 30"/>
                    <a:gd name="T63" fmla="*/ 0 h 30"/>
                    <a:gd name="T64" fmla="*/ 15 w 30"/>
                    <a:gd name="T65" fmla="*/ 0 h 30"/>
                    <a:gd name="T66" fmla="*/ 15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0"/>
                      </a:moveTo>
                      <a:lnTo>
                        <a:pt x="12" y="0"/>
                      </a:lnTo>
                      <a:lnTo>
                        <a:pt x="10" y="1"/>
                      </a:lnTo>
                      <a:lnTo>
                        <a:pt x="6" y="2"/>
                      </a:lnTo>
                      <a:lnTo>
                        <a:pt x="4" y="4"/>
                      </a:lnTo>
                      <a:lnTo>
                        <a:pt x="2" y="6"/>
                      </a:lnTo>
                      <a:lnTo>
                        <a:pt x="1" y="10"/>
                      </a:lnTo>
                      <a:lnTo>
                        <a:pt x="0" y="12"/>
                      </a:lnTo>
                      <a:lnTo>
                        <a:pt x="0" y="15"/>
                      </a:lnTo>
                      <a:lnTo>
                        <a:pt x="0" y="18"/>
                      </a:lnTo>
                      <a:lnTo>
                        <a:pt x="1" y="20"/>
                      </a:lnTo>
                      <a:lnTo>
                        <a:pt x="2" y="24"/>
                      </a:lnTo>
                      <a:lnTo>
                        <a:pt x="4" y="26"/>
                      </a:lnTo>
                      <a:lnTo>
                        <a:pt x="6" y="28"/>
                      </a:lnTo>
                      <a:lnTo>
                        <a:pt x="10" y="29"/>
                      </a:lnTo>
                      <a:lnTo>
                        <a:pt x="12" y="30"/>
                      </a:lnTo>
                      <a:lnTo>
                        <a:pt x="15" y="30"/>
                      </a:lnTo>
                      <a:lnTo>
                        <a:pt x="18" y="30"/>
                      </a:lnTo>
                      <a:lnTo>
                        <a:pt x="20" y="29"/>
                      </a:lnTo>
                      <a:lnTo>
                        <a:pt x="24" y="28"/>
                      </a:lnTo>
                      <a:lnTo>
                        <a:pt x="26" y="26"/>
                      </a:lnTo>
                      <a:lnTo>
                        <a:pt x="28" y="24"/>
                      </a:lnTo>
                      <a:lnTo>
                        <a:pt x="29" y="20"/>
                      </a:lnTo>
                      <a:lnTo>
                        <a:pt x="30" y="18"/>
                      </a:lnTo>
                      <a:lnTo>
                        <a:pt x="30" y="15"/>
                      </a:lnTo>
                      <a:lnTo>
                        <a:pt x="30" y="12"/>
                      </a:lnTo>
                      <a:lnTo>
                        <a:pt x="29" y="10"/>
                      </a:lnTo>
                      <a:lnTo>
                        <a:pt x="28" y="6"/>
                      </a:lnTo>
                      <a:lnTo>
                        <a:pt x="26" y="4"/>
                      </a:lnTo>
                      <a:lnTo>
                        <a:pt x="24" y="2"/>
                      </a:lnTo>
                      <a:lnTo>
                        <a:pt x="20" y="1"/>
                      </a:lnTo>
                      <a:lnTo>
                        <a:pt x="18" y="0"/>
                      </a:lnTo>
                      <a:lnTo>
                        <a:pt x="15" y="0"/>
                      </a:lnTo>
                      <a:lnTo>
                        <a:pt x="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113" name="Freeform 233">
                  <a:extLst>
                    <a:ext uri="{FF2B5EF4-FFF2-40B4-BE49-F238E27FC236}">
                      <a16:creationId xmlns:a16="http://schemas.microsoft.com/office/drawing/2014/main" id="{7893FF6B-3262-4F4A-BE77-00D298F77B8B}"/>
                    </a:ext>
                  </a:extLst>
                </p:cNvPr>
                <p:cNvSpPr>
                  <a:spLocks/>
                </p:cNvSpPr>
                <p:nvPr/>
              </p:nvSpPr>
              <p:spPr bwMode="auto">
                <a:xfrm>
                  <a:off x="3316288" y="2078038"/>
                  <a:ext cx="9525" cy="9525"/>
                </a:xfrm>
                <a:custGeom>
                  <a:avLst/>
                  <a:gdLst>
                    <a:gd name="T0" fmla="*/ 15 w 30"/>
                    <a:gd name="T1" fmla="*/ 30 h 30"/>
                    <a:gd name="T2" fmla="*/ 18 w 30"/>
                    <a:gd name="T3" fmla="*/ 29 h 30"/>
                    <a:gd name="T4" fmla="*/ 21 w 30"/>
                    <a:gd name="T5" fmla="*/ 28 h 30"/>
                    <a:gd name="T6" fmla="*/ 24 w 30"/>
                    <a:gd name="T7" fmla="*/ 27 h 30"/>
                    <a:gd name="T8" fmla="*/ 26 w 30"/>
                    <a:gd name="T9" fmla="*/ 24 h 30"/>
                    <a:gd name="T10" fmla="*/ 28 w 30"/>
                    <a:gd name="T11" fmla="*/ 22 h 30"/>
                    <a:gd name="T12" fmla="*/ 29 w 30"/>
                    <a:gd name="T13" fmla="*/ 20 h 30"/>
                    <a:gd name="T14" fmla="*/ 30 w 30"/>
                    <a:gd name="T15" fmla="*/ 17 h 30"/>
                    <a:gd name="T16" fmla="*/ 30 w 30"/>
                    <a:gd name="T17" fmla="*/ 15 h 30"/>
                    <a:gd name="T18" fmla="*/ 30 w 30"/>
                    <a:gd name="T19" fmla="*/ 12 h 30"/>
                    <a:gd name="T20" fmla="*/ 29 w 30"/>
                    <a:gd name="T21" fmla="*/ 8 h 30"/>
                    <a:gd name="T22" fmla="*/ 28 w 30"/>
                    <a:gd name="T23" fmla="*/ 6 h 30"/>
                    <a:gd name="T24" fmla="*/ 26 w 30"/>
                    <a:gd name="T25" fmla="*/ 4 h 30"/>
                    <a:gd name="T26" fmla="*/ 24 w 30"/>
                    <a:gd name="T27" fmla="*/ 2 h 30"/>
                    <a:gd name="T28" fmla="*/ 21 w 30"/>
                    <a:gd name="T29" fmla="*/ 1 h 30"/>
                    <a:gd name="T30" fmla="*/ 18 w 30"/>
                    <a:gd name="T31" fmla="*/ 0 h 30"/>
                    <a:gd name="T32" fmla="*/ 15 w 30"/>
                    <a:gd name="T33" fmla="*/ 0 h 30"/>
                    <a:gd name="T34" fmla="*/ 12 w 30"/>
                    <a:gd name="T35" fmla="*/ 0 h 30"/>
                    <a:gd name="T36" fmla="*/ 10 w 30"/>
                    <a:gd name="T37" fmla="*/ 1 h 30"/>
                    <a:gd name="T38" fmla="*/ 6 w 30"/>
                    <a:gd name="T39" fmla="*/ 2 h 30"/>
                    <a:gd name="T40" fmla="*/ 4 w 30"/>
                    <a:gd name="T41" fmla="*/ 4 h 30"/>
                    <a:gd name="T42" fmla="*/ 3 w 30"/>
                    <a:gd name="T43" fmla="*/ 6 h 30"/>
                    <a:gd name="T44" fmla="*/ 1 w 30"/>
                    <a:gd name="T45" fmla="*/ 8 h 30"/>
                    <a:gd name="T46" fmla="*/ 0 w 30"/>
                    <a:gd name="T47" fmla="*/ 12 h 30"/>
                    <a:gd name="T48" fmla="*/ 0 w 30"/>
                    <a:gd name="T49" fmla="*/ 15 h 30"/>
                    <a:gd name="T50" fmla="*/ 0 w 30"/>
                    <a:gd name="T51" fmla="*/ 17 h 30"/>
                    <a:gd name="T52" fmla="*/ 1 w 30"/>
                    <a:gd name="T53" fmla="*/ 20 h 30"/>
                    <a:gd name="T54" fmla="*/ 3 w 30"/>
                    <a:gd name="T55" fmla="*/ 22 h 30"/>
                    <a:gd name="T56" fmla="*/ 4 w 30"/>
                    <a:gd name="T57" fmla="*/ 24 h 30"/>
                    <a:gd name="T58" fmla="*/ 6 w 30"/>
                    <a:gd name="T59" fmla="*/ 27 h 30"/>
                    <a:gd name="T60" fmla="*/ 10 w 30"/>
                    <a:gd name="T61" fmla="*/ 28 h 30"/>
                    <a:gd name="T62" fmla="*/ 12 w 30"/>
                    <a:gd name="T63" fmla="*/ 29 h 30"/>
                    <a:gd name="T64" fmla="*/ 15 w 30"/>
                    <a:gd name="T65" fmla="*/ 30 h 30"/>
                    <a:gd name="T66" fmla="*/ 15 w 30"/>
                    <a:gd name="T6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5" y="30"/>
                      </a:moveTo>
                      <a:lnTo>
                        <a:pt x="18" y="29"/>
                      </a:lnTo>
                      <a:lnTo>
                        <a:pt x="21" y="28"/>
                      </a:lnTo>
                      <a:lnTo>
                        <a:pt x="24" y="27"/>
                      </a:lnTo>
                      <a:lnTo>
                        <a:pt x="26" y="24"/>
                      </a:lnTo>
                      <a:lnTo>
                        <a:pt x="28" y="22"/>
                      </a:lnTo>
                      <a:lnTo>
                        <a:pt x="29" y="20"/>
                      </a:lnTo>
                      <a:lnTo>
                        <a:pt x="30" y="17"/>
                      </a:lnTo>
                      <a:lnTo>
                        <a:pt x="30" y="15"/>
                      </a:lnTo>
                      <a:lnTo>
                        <a:pt x="30" y="12"/>
                      </a:lnTo>
                      <a:lnTo>
                        <a:pt x="29" y="8"/>
                      </a:lnTo>
                      <a:lnTo>
                        <a:pt x="28" y="6"/>
                      </a:lnTo>
                      <a:lnTo>
                        <a:pt x="26" y="4"/>
                      </a:lnTo>
                      <a:lnTo>
                        <a:pt x="24" y="2"/>
                      </a:lnTo>
                      <a:lnTo>
                        <a:pt x="21" y="1"/>
                      </a:lnTo>
                      <a:lnTo>
                        <a:pt x="18" y="0"/>
                      </a:lnTo>
                      <a:lnTo>
                        <a:pt x="15" y="0"/>
                      </a:lnTo>
                      <a:lnTo>
                        <a:pt x="12" y="0"/>
                      </a:lnTo>
                      <a:lnTo>
                        <a:pt x="10" y="1"/>
                      </a:lnTo>
                      <a:lnTo>
                        <a:pt x="6" y="2"/>
                      </a:lnTo>
                      <a:lnTo>
                        <a:pt x="4" y="4"/>
                      </a:lnTo>
                      <a:lnTo>
                        <a:pt x="3" y="6"/>
                      </a:lnTo>
                      <a:lnTo>
                        <a:pt x="1" y="8"/>
                      </a:lnTo>
                      <a:lnTo>
                        <a:pt x="0" y="12"/>
                      </a:lnTo>
                      <a:lnTo>
                        <a:pt x="0" y="15"/>
                      </a:lnTo>
                      <a:lnTo>
                        <a:pt x="0" y="17"/>
                      </a:lnTo>
                      <a:lnTo>
                        <a:pt x="1" y="20"/>
                      </a:lnTo>
                      <a:lnTo>
                        <a:pt x="3" y="22"/>
                      </a:lnTo>
                      <a:lnTo>
                        <a:pt x="4" y="24"/>
                      </a:lnTo>
                      <a:lnTo>
                        <a:pt x="6" y="27"/>
                      </a:lnTo>
                      <a:lnTo>
                        <a:pt x="10" y="28"/>
                      </a:lnTo>
                      <a:lnTo>
                        <a:pt x="12" y="29"/>
                      </a:lnTo>
                      <a:lnTo>
                        <a:pt x="15"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70" name="Group 69">
                <a:extLst>
                  <a:ext uri="{FF2B5EF4-FFF2-40B4-BE49-F238E27FC236}">
                    <a16:creationId xmlns:a16="http://schemas.microsoft.com/office/drawing/2014/main" id="{85D6E1F1-4E10-4456-86F8-2DBC339538EA}"/>
                  </a:ext>
                </a:extLst>
              </p:cNvPr>
              <p:cNvGrpSpPr/>
              <p:nvPr/>
            </p:nvGrpSpPr>
            <p:grpSpPr>
              <a:xfrm>
                <a:off x="4503715" y="3086864"/>
                <a:ext cx="263122" cy="219075"/>
                <a:chOff x="2670175" y="4729163"/>
                <a:chExt cx="360363" cy="300038"/>
              </a:xfrm>
              <a:solidFill>
                <a:schemeClr val="bg1"/>
              </a:solidFill>
            </p:grpSpPr>
            <p:sp>
              <p:nvSpPr>
                <p:cNvPr id="75" name="Freeform 590">
                  <a:extLst>
                    <a:ext uri="{FF2B5EF4-FFF2-40B4-BE49-F238E27FC236}">
                      <a16:creationId xmlns:a16="http://schemas.microsoft.com/office/drawing/2014/main" id="{8B583874-FF93-478D-AEF2-029B697940B8}"/>
                    </a:ext>
                  </a:extLst>
                </p:cNvPr>
                <p:cNvSpPr>
                  <a:spLocks noEditPoints="1"/>
                </p:cNvSpPr>
                <p:nvPr/>
              </p:nvSpPr>
              <p:spPr bwMode="auto">
                <a:xfrm>
                  <a:off x="2881313" y="4729163"/>
                  <a:ext cx="104775" cy="195263"/>
                </a:xfrm>
                <a:custGeom>
                  <a:avLst/>
                  <a:gdLst>
                    <a:gd name="T0" fmla="*/ 26 w 28"/>
                    <a:gd name="T1" fmla="*/ 52 h 52"/>
                    <a:gd name="T2" fmla="*/ 25 w 28"/>
                    <a:gd name="T3" fmla="*/ 51 h 52"/>
                    <a:gd name="T4" fmla="*/ 14 w 28"/>
                    <a:gd name="T5" fmla="*/ 41 h 52"/>
                    <a:gd name="T6" fmla="*/ 3 w 28"/>
                    <a:gd name="T7" fmla="*/ 51 h 52"/>
                    <a:gd name="T8" fmla="*/ 1 w 28"/>
                    <a:gd name="T9" fmla="*/ 52 h 52"/>
                    <a:gd name="T10" fmla="*/ 0 w 28"/>
                    <a:gd name="T11" fmla="*/ 50 h 52"/>
                    <a:gd name="T12" fmla="*/ 0 w 28"/>
                    <a:gd name="T13" fmla="*/ 2 h 52"/>
                    <a:gd name="T14" fmla="*/ 2 w 28"/>
                    <a:gd name="T15" fmla="*/ 0 h 52"/>
                    <a:gd name="T16" fmla="*/ 26 w 28"/>
                    <a:gd name="T17" fmla="*/ 0 h 52"/>
                    <a:gd name="T18" fmla="*/ 28 w 28"/>
                    <a:gd name="T19" fmla="*/ 2 h 52"/>
                    <a:gd name="T20" fmla="*/ 28 w 28"/>
                    <a:gd name="T21" fmla="*/ 50 h 52"/>
                    <a:gd name="T22" fmla="*/ 27 w 28"/>
                    <a:gd name="T23" fmla="*/ 52 h 52"/>
                    <a:gd name="T24" fmla="*/ 26 w 28"/>
                    <a:gd name="T25" fmla="*/ 52 h 52"/>
                    <a:gd name="T26" fmla="*/ 14 w 28"/>
                    <a:gd name="T27" fmla="*/ 36 h 52"/>
                    <a:gd name="T28" fmla="*/ 15 w 28"/>
                    <a:gd name="T29" fmla="*/ 37 h 52"/>
                    <a:gd name="T30" fmla="*/ 24 w 28"/>
                    <a:gd name="T31" fmla="*/ 45 h 52"/>
                    <a:gd name="T32" fmla="*/ 24 w 28"/>
                    <a:gd name="T33" fmla="*/ 4 h 52"/>
                    <a:gd name="T34" fmla="*/ 4 w 28"/>
                    <a:gd name="T35" fmla="*/ 4 h 52"/>
                    <a:gd name="T36" fmla="*/ 4 w 28"/>
                    <a:gd name="T37" fmla="*/ 45 h 52"/>
                    <a:gd name="T38" fmla="*/ 13 w 28"/>
                    <a:gd name="T39" fmla="*/ 37 h 52"/>
                    <a:gd name="T40" fmla="*/ 14 w 28"/>
                    <a:gd name="T41" fmla="*/ 3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52">
                      <a:moveTo>
                        <a:pt x="26" y="52"/>
                      </a:moveTo>
                      <a:cubicBezTo>
                        <a:pt x="25" y="52"/>
                        <a:pt x="25" y="52"/>
                        <a:pt x="25" y="51"/>
                      </a:cubicBezTo>
                      <a:cubicBezTo>
                        <a:pt x="14" y="41"/>
                        <a:pt x="14" y="41"/>
                        <a:pt x="14" y="41"/>
                      </a:cubicBezTo>
                      <a:cubicBezTo>
                        <a:pt x="3" y="51"/>
                        <a:pt x="3" y="51"/>
                        <a:pt x="3" y="51"/>
                      </a:cubicBezTo>
                      <a:cubicBezTo>
                        <a:pt x="3" y="52"/>
                        <a:pt x="2" y="52"/>
                        <a:pt x="1" y="52"/>
                      </a:cubicBezTo>
                      <a:cubicBezTo>
                        <a:pt x="0" y="52"/>
                        <a:pt x="0" y="51"/>
                        <a:pt x="0" y="50"/>
                      </a:cubicBezTo>
                      <a:cubicBezTo>
                        <a:pt x="0" y="2"/>
                        <a:pt x="0" y="2"/>
                        <a:pt x="0" y="2"/>
                      </a:cubicBezTo>
                      <a:cubicBezTo>
                        <a:pt x="0" y="1"/>
                        <a:pt x="1" y="0"/>
                        <a:pt x="2" y="0"/>
                      </a:cubicBezTo>
                      <a:cubicBezTo>
                        <a:pt x="26" y="0"/>
                        <a:pt x="26" y="0"/>
                        <a:pt x="26" y="0"/>
                      </a:cubicBezTo>
                      <a:cubicBezTo>
                        <a:pt x="27" y="0"/>
                        <a:pt x="28" y="1"/>
                        <a:pt x="28" y="2"/>
                      </a:cubicBezTo>
                      <a:cubicBezTo>
                        <a:pt x="28" y="50"/>
                        <a:pt x="28" y="50"/>
                        <a:pt x="28" y="50"/>
                      </a:cubicBezTo>
                      <a:cubicBezTo>
                        <a:pt x="28" y="51"/>
                        <a:pt x="28" y="52"/>
                        <a:pt x="27" y="52"/>
                      </a:cubicBezTo>
                      <a:cubicBezTo>
                        <a:pt x="27" y="52"/>
                        <a:pt x="26" y="52"/>
                        <a:pt x="26" y="52"/>
                      </a:cubicBezTo>
                      <a:close/>
                      <a:moveTo>
                        <a:pt x="14" y="36"/>
                      </a:moveTo>
                      <a:cubicBezTo>
                        <a:pt x="15" y="36"/>
                        <a:pt x="15" y="36"/>
                        <a:pt x="15" y="37"/>
                      </a:cubicBezTo>
                      <a:cubicBezTo>
                        <a:pt x="24" y="45"/>
                        <a:pt x="24" y="45"/>
                        <a:pt x="24" y="45"/>
                      </a:cubicBezTo>
                      <a:cubicBezTo>
                        <a:pt x="24" y="4"/>
                        <a:pt x="24" y="4"/>
                        <a:pt x="24" y="4"/>
                      </a:cubicBezTo>
                      <a:cubicBezTo>
                        <a:pt x="4" y="4"/>
                        <a:pt x="4" y="4"/>
                        <a:pt x="4" y="4"/>
                      </a:cubicBezTo>
                      <a:cubicBezTo>
                        <a:pt x="4" y="45"/>
                        <a:pt x="4" y="45"/>
                        <a:pt x="4" y="45"/>
                      </a:cubicBezTo>
                      <a:cubicBezTo>
                        <a:pt x="13" y="37"/>
                        <a:pt x="13" y="37"/>
                        <a:pt x="13" y="37"/>
                      </a:cubicBezTo>
                      <a:cubicBezTo>
                        <a:pt x="13" y="36"/>
                        <a:pt x="13" y="36"/>
                        <a:pt x="14"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sp>
              <p:nvSpPr>
                <p:cNvPr id="76" name="Freeform 591">
                  <a:extLst>
                    <a:ext uri="{FF2B5EF4-FFF2-40B4-BE49-F238E27FC236}">
                      <a16:creationId xmlns:a16="http://schemas.microsoft.com/office/drawing/2014/main" id="{C487ADEC-22AF-4D2C-B7A5-9432D95C5413}"/>
                    </a:ext>
                  </a:extLst>
                </p:cNvPr>
                <p:cNvSpPr>
                  <a:spLocks/>
                </p:cNvSpPr>
                <p:nvPr/>
              </p:nvSpPr>
              <p:spPr bwMode="auto">
                <a:xfrm>
                  <a:off x="2670175" y="4729163"/>
                  <a:ext cx="360363" cy="300038"/>
                </a:xfrm>
                <a:custGeom>
                  <a:avLst/>
                  <a:gdLst>
                    <a:gd name="T0" fmla="*/ 94 w 96"/>
                    <a:gd name="T1" fmla="*/ 80 h 80"/>
                    <a:gd name="T2" fmla="*/ 2 w 96"/>
                    <a:gd name="T3" fmla="*/ 80 h 80"/>
                    <a:gd name="T4" fmla="*/ 0 w 96"/>
                    <a:gd name="T5" fmla="*/ 78 h 80"/>
                    <a:gd name="T6" fmla="*/ 0 w 96"/>
                    <a:gd name="T7" fmla="*/ 2 h 80"/>
                    <a:gd name="T8" fmla="*/ 2 w 96"/>
                    <a:gd name="T9" fmla="*/ 0 h 80"/>
                    <a:gd name="T10" fmla="*/ 30 w 96"/>
                    <a:gd name="T11" fmla="*/ 0 h 80"/>
                    <a:gd name="T12" fmla="*/ 31 w 96"/>
                    <a:gd name="T13" fmla="*/ 1 h 80"/>
                    <a:gd name="T14" fmla="*/ 39 w 96"/>
                    <a:gd name="T15" fmla="*/ 8 h 80"/>
                    <a:gd name="T16" fmla="*/ 58 w 96"/>
                    <a:gd name="T17" fmla="*/ 8 h 80"/>
                    <a:gd name="T18" fmla="*/ 60 w 96"/>
                    <a:gd name="T19" fmla="*/ 10 h 80"/>
                    <a:gd name="T20" fmla="*/ 58 w 96"/>
                    <a:gd name="T21" fmla="*/ 12 h 80"/>
                    <a:gd name="T22" fmla="*/ 38 w 96"/>
                    <a:gd name="T23" fmla="*/ 12 h 80"/>
                    <a:gd name="T24" fmla="*/ 37 w 96"/>
                    <a:gd name="T25" fmla="*/ 11 h 80"/>
                    <a:gd name="T26" fmla="*/ 29 w 96"/>
                    <a:gd name="T27" fmla="*/ 4 h 80"/>
                    <a:gd name="T28" fmla="*/ 4 w 96"/>
                    <a:gd name="T29" fmla="*/ 4 h 80"/>
                    <a:gd name="T30" fmla="*/ 4 w 96"/>
                    <a:gd name="T31" fmla="*/ 76 h 80"/>
                    <a:gd name="T32" fmla="*/ 92 w 96"/>
                    <a:gd name="T33" fmla="*/ 76 h 80"/>
                    <a:gd name="T34" fmla="*/ 92 w 96"/>
                    <a:gd name="T35" fmla="*/ 12 h 80"/>
                    <a:gd name="T36" fmla="*/ 82 w 96"/>
                    <a:gd name="T37" fmla="*/ 12 h 80"/>
                    <a:gd name="T38" fmla="*/ 80 w 96"/>
                    <a:gd name="T39" fmla="*/ 10 h 80"/>
                    <a:gd name="T40" fmla="*/ 82 w 96"/>
                    <a:gd name="T41" fmla="*/ 8 h 80"/>
                    <a:gd name="T42" fmla="*/ 94 w 96"/>
                    <a:gd name="T43" fmla="*/ 8 h 80"/>
                    <a:gd name="T44" fmla="*/ 96 w 96"/>
                    <a:gd name="T45" fmla="*/ 10 h 80"/>
                    <a:gd name="T46" fmla="*/ 96 w 96"/>
                    <a:gd name="T47" fmla="*/ 78 h 80"/>
                    <a:gd name="T48" fmla="*/ 94 w 96"/>
                    <a:gd name="T4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80">
                      <a:moveTo>
                        <a:pt x="94" y="80"/>
                      </a:moveTo>
                      <a:cubicBezTo>
                        <a:pt x="2" y="80"/>
                        <a:pt x="2" y="80"/>
                        <a:pt x="2" y="80"/>
                      </a:cubicBezTo>
                      <a:cubicBezTo>
                        <a:pt x="1" y="80"/>
                        <a:pt x="0" y="79"/>
                        <a:pt x="0" y="78"/>
                      </a:cubicBezTo>
                      <a:cubicBezTo>
                        <a:pt x="0" y="2"/>
                        <a:pt x="0" y="2"/>
                        <a:pt x="0" y="2"/>
                      </a:cubicBezTo>
                      <a:cubicBezTo>
                        <a:pt x="0" y="1"/>
                        <a:pt x="1" y="0"/>
                        <a:pt x="2" y="0"/>
                      </a:cubicBezTo>
                      <a:cubicBezTo>
                        <a:pt x="30" y="0"/>
                        <a:pt x="30" y="0"/>
                        <a:pt x="30" y="0"/>
                      </a:cubicBezTo>
                      <a:cubicBezTo>
                        <a:pt x="31" y="0"/>
                        <a:pt x="31" y="0"/>
                        <a:pt x="31" y="1"/>
                      </a:cubicBezTo>
                      <a:cubicBezTo>
                        <a:pt x="39" y="8"/>
                        <a:pt x="39" y="8"/>
                        <a:pt x="39" y="8"/>
                      </a:cubicBezTo>
                      <a:cubicBezTo>
                        <a:pt x="58" y="8"/>
                        <a:pt x="58" y="8"/>
                        <a:pt x="58" y="8"/>
                      </a:cubicBezTo>
                      <a:cubicBezTo>
                        <a:pt x="59" y="8"/>
                        <a:pt x="60" y="9"/>
                        <a:pt x="60" y="10"/>
                      </a:cubicBezTo>
                      <a:cubicBezTo>
                        <a:pt x="60" y="11"/>
                        <a:pt x="59" y="12"/>
                        <a:pt x="58" y="12"/>
                      </a:cubicBezTo>
                      <a:cubicBezTo>
                        <a:pt x="38" y="12"/>
                        <a:pt x="38" y="12"/>
                        <a:pt x="38" y="12"/>
                      </a:cubicBezTo>
                      <a:cubicBezTo>
                        <a:pt x="37" y="12"/>
                        <a:pt x="37" y="12"/>
                        <a:pt x="37" y="11"/>
                      </a:cubicBezTo>
                      <a:cubicBezTo>
                        <a:pt x="29" y="4"/>
                        <a:pt x="29" y="4"/>
                        <a:pt x="29" y="4"/>
                      </a:cubicBezTo>
                      <a:cubicBezTo>
                        <a:pt x="4" y="4"/>
                        <a:pt x="4" y="4"/>
                        <a:pt x="4" y="4"/>
                      </a:cubicBezTo>
                      <a:cubicBezTo>
                        <a:pt x="4" y="76"/>
                        <a:pt x="4" y="76"/>
                        <a:pt x="4" y="76"/>
                      </a:cubicBezTo>
                      <a:cubicBezTo>
                        <a:pt x="92" y="76"/>
                        <a:pt x="92" y="76"/>
                        <a:pt x="92" y="76"/>
                      </a:cubicBezTo>
                      <a:cubicBezTo>
                        <a:pt x="92" y="12"/>
                        <a:pt x="92" y="12"/>
                        <a:pt x="92" y="12"/>
                      </a:cubicBezTo>
                      <a:cubicBezTo>
                        <a:pt x="82" y="12"/>
                        <a:pt x="82" y="12"/>
                        <a:pt x="82" y="12"/>
                      </a:cubicBezTo>
                      <a:cubicBezTo>
                        <a:pt x="81" y="12"/>
                        <a:pt x="80" y="11"/>
                        <a:pt x="80" y="10"/>
                      </a:cubicBezTo>
                      <a:cubicBezTo>
                        <a:pt x="80" y="9"/>
                        <a:pt x="81" y="8"/>
                        <a:pt x="82" y="8"/>
                      </a:cubicBezTo>
                      <a:cubicBezTo>
                        <a:pt x="94" y="8"/>
                        <a:pt x="94" y="8"/>
                        <a:pt x="94" y="8"/>
                      </a:cubicBezTo>
                      <a:cubicBezTo>
                        <a:pt x="95" y="8"/>
                        <a:pt x="96" y="9"/>
                        <a:pt x="96" y="10"/>
                      </a:cubicBezTo>
                      <a:cubicBezTo>
                        <a:pt x="96" y="78"/>
                        <a:pt x="96" y="78"/>
                        <a:pt x="96" y="78"/>
                      </a:cubicBezTo>
                      <a:cubicBezTo>
                        <a:pt x="96" y="79"/>
                        <a:pt x="95" y="80"/>
                        <a:pt x="94"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a:p>
              </p:txBody>
            </p:sp>
          </p:grpSp>
        </p:grpSp>
      </p:grpSp>
      <p:sp>
        <p:nvSpPr>
          <p:cNvPr id="65" name="Footer Placeholder 3">
            <a:extLst>
              <a:ext uri="{FF2B5EF4-FFF2-40B4-BE49-F238E27FC236}">
                <a16:creationId xmlns:a16="http://schemas.microsoft.com/office/drawing/2014/main" id="{B10721B7-F0FA-4FEF-8A49-A7982111BF2F}"/>
              </a:ext>
            </a:extLst>
          </p:cNvPr>
          <p:cNvSpPr txBox="1">
            <a:spLocks/>
          </p:cNvSpPr>
          <p:nvPr/>
        </p:nvSpPr>
        <p:spPr>
          <a:xfrm>
            <a:off x="828137" y="6492875"/>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HMS a Gainwell Company C</a:t>
            </a:r>
            <a:r>
              <a:rPr lang="en-US" sz="800" dirty="0" err="1">
                <a:solidFill>
                  <a:srgbClr val="68767E"/>
                </a:solidFill>
                <a:latin typeface="Arial" panose="020B0604020202020204"/>
              </a:rPr>
              <a:t>onfidential</a:t>
            </a:r>
            <a:r>
              <a:rPr kumimoji="0" lang="en-US" sz="800" b="0" i="0" u="none" strike="noStrike" kern="1200" cap="none" spc="0" normalizeH="0" baseline="0" noProof="0" dirty="0">
                <a:ln>
                  <a:noFill/>
                </a:ln>
                <a:solidFill>
                  <a:srgbClr val="68767E"/>
                </a:solidFill>
                <a:effectLst/>
                <a:uLnTx/>
                <a:uFillTx/>
                <a:latin typeface="Arial" charset="0"/>
                <a:ea typeface="+mn-ea"/>
                <a:cs typeface="+mn-cs"/>
              </a:rPr>
              <a:t>. Do not Distribute.</a:t>
            </a:r>
          </a:p>
        </p:txBody>
      </p:sp>
      <p:sp>
        <p:nvSpPr>
          <p:cNvPr id="3" name="TextBox 2">
            <a:extLst>
              <a:ext uri="{FF2B5EF4-FFF2-40B4-BE49-F238E27FC236}">
                <a16:creationId xmlns:a16="http://schemas.microsoft.com/office/drawing/2014/main" id="{389D19C7-5930-2DEB-E873-16328B4EC456}"/>
              </a:ext>
            </a:extLst>
          </p:cNvPr>
          <p:cNvSpPr txBox="1"/>
          <p:nvPr/>
        </p:nvSpPr>
        <p:spPr>
          <a:xfrm>
            <a:off x="4666627" y="5168892"/>
            <a:ext cx="6333708" cy="1163395"/>
          </a:xfrm>
          <a:prstGeom prst="rect">
            <a:avLst/>
          </a:prstGeom>
          <a:noFill/>
        </p:spPr>
        <p:txBody>
          <a:bodyPr wrap="square" lIns="0" tIns="0" rIns="0" bIns="0" rtlCol="0" anchor="ctr">
            <a:spAutoFit/>
          </a:bodyPr>
          <a:lstStyle/>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Providers can submit Informal Reconsiderations </a:t>
            </a:r>
            <a:r>
              <a:rPr lang="en-US" sz="1400" dirty="0">
                <a:solidFill>
                  <a:srgbClr val="68767E"/>
                </a:solidFill>
              </a:rPr>
              <a:t>and have documentation to support their assertion</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lang="en-US" sz="1400" dirty="0">
                <a:solidFill>
                  <a:srgbClr val="68767E"/>
                </a:solidFill>
              </a:rPr>
              <a:t>Providers are given 30 days from letter date to respond</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lang="en-US" sz="1400" dirty="0">
                <a:solidFill>
                  <a:srgbClr val="68767E"/>
                </a:solidFill>
              </a:rPr>
              <a:t>HMS will conduct review of documentation</a:t>
            </a:r>
          </a:p>
          <a:p>
            <a:pPr marL="274320" marR="0" lvl="0" indent="-274320" algn="l" defTabSz="914400" rtl="0" eaLnBrk="0" fontAlgn="base" latinLnBrk="0" hangingPunct="0">
              <a:lnSpc>
                <a:spcPct val="90000"/>
              </a:lnSpc>
              <a:spcBef>
                <a:spcPct val="0"/>
              </a:spcBef>
              <a:spcAft>
                <a:spcPct val="0"/>
              </a:spcAft>
              <a:buClr>
                <a:srgbClr val="FF6633"/>
              </a:buClr>
              <a:buSzTx/>
              <a:buFont typeface="Arial" charset="0"/>
              <a:buChar char="•"/>
              <a:tabLst/>
              <a:defRPr/>
            </a:pPr>
            <a:r>
              <a:rPr lang="en-US" sz="1400" dirty="0">
                <a:solidFill>
                  <a:srgbClr val="68767E"/>
                </a:solidFill>
              </a:rPr>
              <a:t>Providers will receive a notice 45 days after the receipt of the Informal Reconsideration request.  </a:t>
            </a:r>
          </a:p>
        </p:txBody>
      </p:sp>
    </p:spTree>
    <p:extLst>
      <p:ext uri="{BB962C8B-B14F-4D97-AF65-F5344CB8AC3E}">
        <p14:creationId xmlns:p14="http://schemas.microsoft.com/office/powerpoint/2010/main" val="37739481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2755658-04BE-49B5-9683-B5ACF7659D78}"/>
              </a:ext>
            </a:extLst>
          </p:cNvPr>
          <p:cNvSpPr>
            <a:spLocks noGrp="1"/>
          </p:cNvSpPr>
          <p:nvPr>
            <p:ph type="title"/>
          </p:nvPr>
        </p:nvSpPr>
        <p:spPr>
          <a:xfrm>
            <a:off x="831852" y="1788956"/>
            <a:ext cx="7731235" cy="3280089"/>
          </a:xfrm>
        </p:spPr>
        <p:txBody>
          <a:bodyPr anchor="ctr"/>
          <a:lstStyle/>
          <a:p>
            <a:r>
              <a:rPr lang="en-US" dirty="0"/>
              <a:t>Medical Record Requests</a:t>
            </a:r>
          </a:p>
        </p:txBody>
      </p:sp>
      <p:sp>
        <p:nvSpPr>
          <p:cNvPr id="2" name="Slide Number Placeholder 1">
            <a:extLst>
              <a:ext uri="{FF2B5EF4-FFF2-40B4-BE49-F238E27FC236}">
                <a16:creationId xmlns:a16="http://schemas.microsoft.com/office/drawing/2014/main" id="{32B36DFD-796C-4AAE-902E-61CDC5CEC8D7}"/>
              </a:ext>
            </a:extLst>
          </p:cNvPr>
          <p:cNvSpPr>
            <a:spLocks noGrp="1"/>
          </p:cNvSpPr>
          <p:nvPr>
            <p:ph type="sldNum" sz="quarter" idx="4294967295"/>
          </p:nvPr>
        </p:nvSpPr>
        <p:spPr>
          <a:xfrm>
            <a:off x="9448800" y="63690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87677F-9EE0-1D46-953C-F8704949B36A}"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uk-UA" altLang="en-US" sz="700" b="0" i="0" u="none" strike="noStrike" kern="1200" cap="none" spc="0" normalizeH="0" baseline="0" noProof="0" dirty="0">
              <a:ln>
                <a:noFill/>
              </a:ln>
              <a:solidFill>
                <a:srgbClr val="FFFFFF"/>
              </a:solidFill>
              <a:effectLst/>
              <a:uLnTx/>
              <a:uFillTx/>
              <a:latin typeface="Arial" charset="0"/>
              <a:cs typeface="Arial" charset="0"/>
            </a:endParaRPr>
          </a:p>
        </p:txBody>
      </p:sp>
      <p:sp>
        <p:nvSpPr>
          <p:cNvPr id="4" name="Footer Placeholder 5">
            <a:extLst>
              <a:ext uri="{FF2B5EF4-FFF2-40B4-BE49-F238E27FC236}">
                <a16:creationId xmlns:a16="http://schemas.microsoft.com/office/drawing/2014/main" id="{64F614CB-505A-DFD2-A860-87DC43D62153}"/>
              </a:ext>
            </a:extLst>
          </p:cNvPr>
          <p:cNvSpPr txBox="1">
            <a:spLocks/>
          </p:cNvSpPr>
          <p:nvPr/>
        </p:nvSpPr>
        <p:spPr>
          <a:xfrm>
            <a:off x="838200" y="64801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23650743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36B40E-4931-4EE4-AE9E-6677EB245945}"/>
              </a:ext>
            </a:extLst>
          </p:cNvPr>
          <p:cNvSpPr>
            <a:spLocks noGrp="1"/>
          </p:cNvSpPr>
          <p:nvPr>
            <p:ph type="title"/>
          </p:nvPr>
        </p:nvSpPr>
        <p:spPr>
          <a:xfrm>
            <a:off x="326638" y="-15951"/>
            <a:ext cx="6286995" cy="1325563"/>
          </a:xfrm>
        </p:spPr>
        <p:txBody>
          <a:bodyPr/>
          <a:lstStyle/>
          <a:p>
            <a:r>
              <a:rPr lang="en-US" dirty="0"/>
              <a:t>Medical Record Requests</a:t>
            </a:r>
          </a:p>
        </p:txBody>
      </p:sp>
      <p:sp>
        <p:nvSpPr>
          <p:cNvPr id="4" name="Slide Number Placeholder 3">
            <a:extLst>
              <a:ext uri="{FF2B5EF4-FFF2-40B4-BE49-F238E27FC236}">
                <a16:creationId xmlns:a16="http://schemas.microsoft.com/office/drawing/2014/main" id="{B6040764-52CD-4360-8F60-34F13BD29B11}"/>
              </a:ext>
            </a:extLst>
          </p:cNvPr>
          <p:cNvSpPr>
            <a:spLocks noGrp="1"/>
          </p:cNvSpPr>
          <p:nvPr>
            <p:ph type="sldNum" sz="quarter" idx="10"/>
          </p:nvPr>
        </p:nvSpPr>
        <p:spPr/>
        <p:txBody>
          <a:bodyPr/>
          <a:lstStyle/>
          <a:p>
            <a:fld id="{E1D6E511-78F2-1D4C-8218-60E971E66380}" type="slidenum">
              <a:rPr lang="en-US" altLang="en-US" smtClean="0"/>
              <a:pPr/>
              <a:t>7</a:t>
            </a:fld>
            <a:endParaRPr lang="en-US" altLang="en-US" dirty="0"/>
          </a:p>
        </p:txBody>
      </p:sp>
      <p:sp>
        <p:nvSpPr>
          <p:cNvPr id="12" name="Rectangle 11">
            <a:extLst>
              <a:ext uri="{FF2B5EF4-FFF2-40B4-BE49-F238E27FC236}">
                <a16:creationId xmlns:a16="http://schemas.microsoft.com/office/drawing/2014/main" id="{79EDB77D-3278-4782-BF98-138CCADAA0CF}"/>
              </a:ext>
            </a:extLst>
          </p:cNvPr>
          <p:cNvSpPr/>
          <p:nvPr/>
        </p:nvSpPr>
        <p:spPr>
          <a:xfrm>
            <a:off x="494805" y="949201"/>
            <a:ext cx="5433029" cy="4619726"/>
          </a:xfrm>
          <a:prstGeom prst="rect">
            <a:avLst/>
          </a:prstGeom>
        </p:spPr>
        <p:txBody>
          <a:bodyPr wrap="square" lIns="0" tIns="0" rIns="0" bIns="0">
            <a:spAutoFit/>
          </a:bodyPr>
          <a:lstStyle/>
          <a:p>
            <a:pPr>
              <a:lnSpc>
                <a:spcPct val="90000"/>
              </a:lnSpc>
              <a:spcAft>
                <a:spcPts val="300"/>
              </a:spcAft>
              <a:buClr>
                <a:srgbClr val="FF6633"/>
              </a:buClr>
            </a:pPr>
            <a:r>
              <a:rPr lang="en-US" b="1" dirty="0">
                <a:latin typeface="Arial" panose="020B0604020202020204"/>
              </a:rPr>
              <a:t>You will receive a notification letter.</a:t>
            </a:r>
          </a:p>
          <a:p>
            <a:pPr marL="285750" lvl="1" indent="-285750">
              <a:lnSpc>
                <a:spcPct val="90000"/>
              </a:lnSpc>
              <a:spcAft>
                <a:spcPts val="0"/>
              </a:spcAft>
              <a:buClr>
                <a:srgbClr val="FF6633"/>
              </a:buClr>
              <a:buFont typeface="Wingdings" pitchFamily="2" charset="2"/>
              <a:buChar char="§"/>
            </a:pPr>
            <a:r>
              <a:rPr lang="en-US" sz="1600" dirty="0">
                <a:latin typeface="Arial" panose="020B0604020202020204"/>
              </a:rPr>
              <a:t>If your facility is chosen for a review, a letter will be mailed to the medical records department informing them of the upcoming review.</a:t>
            </a:r>
          </a:p>
          <a:p>
            <a:pPr marL="285750" lvl="1" indent="-285750">
              <a:lnSpc>
                <a:spcPct val="90000"/>
              </a:lnSpc>
              <a:spcAft>
                <a:spcPts val="0"/>
              </a:spcAft>
              <a:buClr>
                <a:srgbClr val="FF6633"/>
              </a:buClr>
              <a:buFont typeface="Wingdings" pitchFamily="2" charset="2"/>
              <a:buChar char="§"/>
            </a:pPr>
            <a:r>
              <a:rPr lang="en-US" sz="1600" dirty="0">
                <a:latin typeface="Arial" panose="020B0604020202020204"/>
              </a:rPr>
              <a:t>If the medical record is not received in the requested time, HMS will make courtesy calls and mail follow-up letters.</a:t>
            </a:r>
          </a:p>
          <a:p>
            <a:pPr marL="0" lvl="1">
              <a:lnSpc>
                <a:spcPct val="90000"/>
              </a:lnSpc>
              <a:spcAft>
                <a:spcPts val="0"/>
              </a:spcAft>
              <a:buClr>
                <a:srgbClr val="FF6633"/>
              </a:buClr>
            </a:pPr>
            <a:endParaRPr lang="en-US" b="1" dirty="0">
              <a:solidFill>
                <a:schemeClr val="accent4"/>
              </a:solidFill>
              <a:latin typeface="Arial" panose="020B0604020202020204"/>
            </a:endParaRPr>
          </a:p>
          <a:p>
            <a:pPr>
              <a:lnSpc>
                <a:spcPct val="90000"/>
              </a:lnSpc>
              <a:spcAft>
                <a:spcPts val="300"/>
              </a:spcAft>
              <a:buClr>
                <a:srgbClr val="FF6633"/>
              </a:buClr>
            </a:pPr>
            <a:r>
              <a:rPr lang="en-US" b="1" dirty="0">
                <a:latin typeface="Arial" panose="020B0604020202020204"/>
              </a:rPr>
              <a:t>Instructions are included.</a:t>
            </a:r>
          </a:p>
          <a:p>
            <a:pPr marL="285750" lvl="1" indent="-285750">
              <a:lnSpc>
                <a:spcPct val="90000"/>
              </a:lnSpc>
              <a:spcAft>
                <a:spcPts val="0"/>
              </a:spcAft>
              <a:buClr>
                <a:srgbClr val="FF6633"/>
              </a:buClr>
              <a:buFont typeface="Wingdings" pitchFamily="2" charset="2"/>
              <a:buChar char="§"/>
            </a:pPr>
            <a:r>
              <a:rPr lang="en-US" sz="1600" dirty="0">
                <a:latin typeface="Arial" panose="020B0604020202020204"/>
              </a:rPr>
              <a:t>The letter will include instructions for submitting the medical records, the list of claims to be reviewed, and the number of days you must submit information.</a:t>
            </a:r>
          </a:p>
          <a:p>
            <a:pPr marL="285750" lvl="1" indent="-285750">
              <a:lnSpc>
                <a:spcPct val="90000"/>
              </a:lnSpc>
              <a:spcAft>
                <a:spcPts val="0"/>
              </a:spcAft>
              <a:buClr>
                <a:srgbClr val="FF6633"/>
              </a:buClr>
              <a:buFont typeface="Wingdings" pitchFamily="2" charset="2"/>
              <a:buChar char="§"/>
            </a:pPr>
            <a:r>
              <a:rPr lang="en-US" sz="1600" dirty="0">
                <a:latin typeface="Arial" panose="020B0604020202020204"/>
              </a:rPr>
              <a:t>The preferred method of sending medical record files is electronically, though HMS can accept them in other formats.</a:t>
            </a:r>
          </a:p>
          <a:p>
            <a:pPr marL="285750" lvl="1" indent="-285750">
              <a:lnSpc>
                <a:spcPct val="90000"/>
              </a:lnSpc>
              <a:spcAft>
                <a:spcPts val="0"/>
              </a:spcAft>
              <a:buClr>
                <a:srgbClr val="FF6633"/>
              </a:buClr>
              <a:buFont typeface="Wingdings" pitchFamily="2" charset="2"/>
              <a:buChar char="§"/>
            </a:pPr>
            <a:r>
              <a:rPr lang="en-US" sz="1600" dirty="0">
                <a:latin typeface="Arial" panose="020B0604020202020204"/>
              </a:rPr>
              <a:t>Providers may contact 877-640-3419 for additional questions. This number will also be included in your medical record request letter.</a:t>
            </a:r>
          </a:p>
          <a:p>
            <a:pPr marL="0" lvl="1">
              <a:lnSpc>
                <a:spcPct val="90000"/>
              </a:lnSpc>
              <a:spcAft>
                <a:spcPts val="0"/>
              </a:spcAft>
              <a:buClr>
                <a:srgbClr val="FF6633"/>
              </a:buClr>
            </a:pPr>
            <a:endParaRPr lang="en-US" sz="1600" dirty="0">
              <a:solidFill>
                <a:srgbClr val="7F8C95"/>
              </a:solidFill>
              <a:latin typeface="Arial" panose="020B0604020202020204"/>
            </a:endParaRPr>
          </a:p>
          <a:p>
            <a:pPr marL="285750" lvl="1" indent="-285750">
              <a:lnSpc>
                <a:spcPct val="90000"/>
              </a:lnSpc>
              <a:spcAft>
                <a:spcPts val="0"/>
              </a:spcAft>
              <a:buClr>
                <a:srgbClr val="FF6633"/>
              </a:buClr>
              <a:buFont typeface="Wingdings" pitchFamily="2" charset="2"/>
              <a:buChar char="§"/>
            </a:pPr>
            <a:endParaRPr lang="en-US" b="1" dirty="0">
              <a:latin typeface="Arial" panose="020B0604020202020204"/>
            </a:endParaRPr>
          </a:p>
        </p:txBody>
      </p:sp>
      <p:sp>
        <p:nvSpPr>
          <p:cNvPr id="19" name="Freeform 146">
            <a:extLst>
              <a:ext uri="{FF2B5EF4-FFF2-40B4-BE49-F238E27FC236}">
                <a16:creationId xmlns:a16="http://schemas.microsoft.com/office/drawing/2014/main" id="{A0BCA1EB-E8E7-BE48-985B-168813306E08}"/>
              </a:ext>
            </a:extLst>
          </p:cNvPr>
          <p:cNvSpPr>
            <a:spLocks noEditPoints="1"/>
          </p:cNvSpPr>
          <p:nvPr/>
        </p:nvSpPr>
        <p:spPr bwMode="auto">
          <a:xfrm>
            <a:off x="4746837" y="-246911"/>
            <a:ext cx="209262" cy="285493"/>
          </a:xfrm>
          <a:custGeom>
            <a:avLst/>
            <a:gdLst>
              <a:gd name="T0" fmla="*/ 197 w 561"/>
              <a:gd name="T1" fmla="*/ 636 h 764"/>
              <a:gd name="T2" fmla="*/ 365 w 561"/>
              <a:gd name="T3" fmla="*/ 636 h 764"/>
              <a:gd name="T4" fmla="*/ 89 w 561"/>
              <a:gd name="T5" fmla="*/ 738 h 764"/>
              <a:gd name="T6" fmla="*/ 338 w 561"/>
              <a:gd name="T7" fmla="*/ 403 h 764"/>
              <a:gd name="T8" fmla="*/ 403 w 561"/>
              <a:gd name="T9" fmla="*/ 437 h 764"/>
              <a:gd name="T10" fmla="*/ 449 w 561"/>
              <a:gd name="T11" fmla="*/ 493 h 764"/>
              <a:gd name="T12" fmla="*/ 470 w 561"/>
              <a:gd name="T13" fmla="*/ 566 h 764"/>
              <a:gd name="T14" fmla="*/ 290 w 561"/>
              <a:gd name="T15" fmla="*/ 525 h 764"/>
              <a:gd name="T16" fmla="*/ 272 w 561"/>
              <a:gd name="T17" fmla="*/ 525 h 764"/>
              <a:gd name="T18" fmla="*/ 90 w 561"/>
              <a:gd name="T19" fmla="*/ 566 h 764"/>
              <a:gd name="T20" fmla="*/ 112 w 561"/>
              <a:gd name="T21" fmla="*/ 494 h 764"/>
              <a:gd name="T22" fmla="*/ 158 w 561"/>
              <a:gd name="T23" fmla="*/ 437 h 764"/>
              <a:gd name="T24" fmla="*/ 223 w 561"/>
              <a:gd name="T25" fmla="*/ 403 h 764"/>
              <a:gd name="T26" fmla="*/ 137 w 561"/>
              <a:gd name="T27" fmla="*/ 305 h 764"/>
              <a:gd name="T28" fmla="*/ 379 w 561"/>
              <a:gd name="T29" fmla="*/ 343 h 764"/>
              <a:gd name="T30" fmla="*/ 333 w 561"/>
              <a:gd name="T31" fmla="*/ 362 h 764"/>
              <a:gd name="T32" fmla="*/ 291 w 561"/>
              <a:gd name="T33" fmla="*/ 369 h 764"/>
              <a:gd name="T34" fmla="*/ 249 w 561"/>
              <a:gd name="T35" fmla="*/ 366 h 764"/>
              <a:gd name="T36" fmla="*/ 209 w 561"/>
              <a:gd name="T37" fmla="*/ 356 h 764"/>
              <a:gd name="T38" fmla="*/ 151 w 561"/>
              <a:gd name="T39" fmla="*/ 319 h 764"/>
              <a:gd name="T40" fmla="*/ 471 w 561"/>
              <a:gd name="T41" fmla="*/ 178 h 764"/>
              <a:gd name="T42" fmla="*/ 464 w 561"/>
              <a:gd name="T43" fmla="*/ 232 h 764"/>
              <a:gd name="T44" fmla="*/ 443 w 561"/>
              <a:gd name="T45" fmla="*/ 280 h 764"/>
              <a:gd name="T46" fmla="*/ 101 w 561"/>
              <a:gd name="T47" fmla="*/ 245 h 764"/>
              <a:gd name="T48" fmla="*/ 90 w 561"/>
              <a:gd name="T49" fmla="*/ 192 h 764"/>
              <a:gd name="T50" fmla="*/ 497 w 561"/>
              <a:gd name="T51" fmla="*/ 738 h 764"/>
              <a:gd name="T52" fmla="*/ 491 w 561"/>
              <a:gd name="T53" fmla="*/ 534 h 764"/>
              <a:gd name="T54" fmla="*/ 466 w 561"/>
              <a:gd name="T55" fmla="*/ 472 h 764"/>
              <a:gd name="T56" fmla="*/ 425 w 561"/>
              <a:gd name="T57" fmla="*/ 422 h 764"/>
              <a:gd name="T58" fmla="*/ 370 w 561"/>
              <a:gd name="T59" fmla="*/ 388 h 764"/>
              <a:gd name="T60" fmla="*/ 399 w 561"/>
              <a:gd name="T61" fmla="*/ 360 h 764"/>
              <a:gd name="T62" fmla="*/ 448 w 561"/>
              <a:gd name="T63" fmla="*/ 318 h 764"/>
              <a:gd name="T64" fmla="*/ 481 w 561"/>
              <a:gd name="T65" fmla="*/ 262 h 764"/>
              <a:gd name="T66" fmla="*/ 496 w 561"/>
              <a:gd name="T67" fmla="*/ 196 h 764"/>
              <a:gd name="T68" fmla="*/ 553 w 561"/>
              <a:gd name="T69" fmla="*/ 25 h 764"/>
              <a:gd name="T70" fmla="*/ 559 w 561"/>
              <a:gd name="T71" fmla="*/ 8 h 764"/>
              <a:gd name="T72" fmla="*/ 484 w 561"/>
              <a:gd name="T73" fmla="*/ 0 h 764"/>
              <a:gd name="T74" fmla="*/ 4 w 561"/>
              <a:gd name="T75" fmla="*/ 3 h 764"/>
              <a:gd name="T76" fmla="*/ 4 w 561"/>
              <a:gd name="T77" fmla="*/ 22 h 764"/>
              <a:gd name="T78" fmla="*/ 64 w 561"/>
              <a:gd name="T79" fmla="*/ 178 h 764"/>
              <a:gd name="T80" fmla="*/ 73 w 561"/>
              <a:gd name="T81" fmla="*/ 242 h 764"/>
              <a:gd name="T82" fmla="*/ 99 w 561"/>
              <a:gd name="T83" fmla="*/ 298 h 764"/>
              <a:gd name="T84" fmla="*/ 122 w 561"/>
              <a:gd name="T85" fmla="*/ 328 h 764"/>
              <a:gd name="T86" fmla="*/ 176 w 561"/>
              <a:gd name="T87" fmla="*/ 369 h 764"/>
              <a:gd name="T88" fmla="*/ 176 w 561"/>
              <a:gd name="T89" fmla="*/ 395 h 764"/>
              <a:gd name="T90" fmla="*/ 125 w 561"/>
              <a:gd name="T91" fmla="*/ 435 h 764"/>
              <a:gd name="T92" fmla="*/ 87 w 561"/>
              <a:gd name="T93" fmla="*/ 488 h 764"/>
              <a:gd name="T94" fmla="*/ 67 w 561"/>
              <a:gd name="T95" fmla="*/ 551 h 764"/>
              <a:gd name="T96" fmla="*/ 13 w 561"/>
              <a:gd name="T97" fmla="*/ 738 h 764"/>
              <a:gd name="T98" fmla="*/ 0 w 561"/>
              <a:gd name="T99" fmla="*/ 751 h 764"/>
              <a:gd name="T100" fmla="*/ 13 w 561"/>
              <a:gd name="T101" fmla="*/ 764 h 764"/>
              <a:gd name="T102" fmla="*/ 553 w 561"/>
              <a:gd name="T103" fmla="*/ 763 h 764"/>
              <a:gd name="T104" fmla="*/ 559 w 561"/>
              <a:gd name="T105" fmla="*/ 747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61" h="764">
                <a:moveTo>
                  <a:pt x="89" y="738"/>
                </a:moveTo>
                <a:lnTo>
                  <a:pt x="89" y="637"/>
                </a:lnTo>
                <a:lnTo>
                  <a:pt x="191" y="637"/>
                </a:lnTo>
                <a:lnTo>
                  <a:pt x="197" y="636"/>
                </a:lnTo>
                <a:lnTo>
                  <a:pt x="201" y="633"/>
                </a:lnTo>
                <a:lnTo>
                  <a:pt x="280" y="554"/>
                </a:lnTo>
                <a:lnTo>
                  <a:pt x="361" y="633"/>
                </a:lnTo>
                <a:lnTo>
                  <a:pt x="365" y="636"/>
                </a:lnTo>
                <a:lnTo>
                  <a:pt x="369" y="637"/>
                </a:lnTo>
                <a:lnTo>
                  <a:pt x="471" y="637"/>
                </a:lnTo>
                <a:lnTo>
                  <a:pt x="471" y="738"/>
                </a:lnTo>
                <a:lnTo>
                  <a:pt x="89" y="738"/>
                </a:lnTo>
                <a:close/>
                <a:moveTo>
                  <a:pt x="280" y="394"/>
                </a:moveTo>
                <a:lnTo>
                  <a:pt x="301" y="395"/>
                </a:lnTo>
                <a:lnTo>
                  <a:pt x="320" y="399"/>
                </a:lnTo>
                <a:lnTo>
                  <a:pt x="338" y="403"/>
                </a:lnTo>
                <a:lnTo>
                  <a:pt x="355" y="409"/>
                </a:lnTo>
                <a:lnTo>
                  <a:pt x="373" y="417"/>
                </a:lnTo>
                <a:lnTo>
                  <a:pt x="389" y="427"/>
                </a:lnTo>
                <a:lnTo>
                  <a:pt x="403" y="437"/>
                </a:lnTo>
                <a:lnTo>
                  <a:pt x="417" y="449"/>
                </a:lnTo>
                <a:lnTo>
                  <a:pt x="428" y="463"/>
                </a:lnTo>
                <a:lnTo>
                  <a:pt x="439" y="478"/>
                </a:lnTo>
                <a:lnTo>
                  <a:pt x="449" y="493"/>
                </a:lnTo>
                <a:lnTo>
                  <a:pt x="456" y="510"/>
                </a:lnTo>
                <a:lnTo>
                  <a:pt x="463" y="527"/>
                </a:lnTo>
                <a:lnTo>
                  <a:pt x="467" y="547"/>
                </a:lnTo>
                <a:lnTo>
                  <a:pt x="470" y="566"/>
                </a:lnTo>
                <a:lnTo>
                  <a:pt x="471" y="585"/>
                </a:lnTo>
                <a:lnTo>
                  <a:pt x="471" y="611"/>
                </a:lnTo>
                <a:lnTo>
                  <a:pt x="375" y="611"/>
                </a:lnTo>
                <a:lnTo>
                  <a:pt x="290" y="525"/>
                </a:lnTo>
                <a:lnTo>
                  <a:pt x="286" y="523"/>
                </a:lnTo>
                <a:lnTo>
                  <a:pt x="280" y="522"/>
                </a:lnTo>
                <a:lnTo>
                  <a:pt x="276" y="523"/>
                </a:lnTo>
                <a:lnTo>
                  <a:pt x="272" y="525"/>
                </a:lnTo>
                <a:lnTo>
                  <a:pt x="186" y="611"/>
                </a:lnTo>
                <a:lnTo>
                  <a:pt x="89" y="611"/>
                </a:lnTo>
                <a:lnTo>
                  <a:pt x="89" y="585"/>
                </a:lnTo>
                <a:lnTo>
                  <a:pt x="90" y="566"/>
                </a:lnTo>
                <a:lnTo>
                  <a:pt x="93" y="547"/>
                </a:lnTo>
                <a:lnTo>
                  <a:pt x="98" y="529"/>
                </a:lnTo>
                <a:lnTo>
                  <a:pt x="104" y="510"/>
                </a:lnTo>
                <a:lnTo>
                  <a:pt x="112" y="494"/>
                </a:lnTo>
                <a:lnTo>
                  <a:pt x="121" y="478"/>
                </a:lnTo>
                <a:lnTo>
                  <a:pt x="132" y="463"/>
                </a:lnTo>
                <a:lnTo>
                  <a:pt x="145" y="450"/>
                </a:lnTo>
                <a:lnTo>
                  <a:pt x="158" y="437"/>
                </a:lnTo>
                <a:lnTo>
                  <a:pt x="173" y="427"/>
                </a:lnTo>
                <a:lnTo>
                  <a:pt x="189" y="417"/>
                </a:lnTo>
                <a:lnTo>
                  <a:pt x="205" y="409"/>
                </a:lnTo>
                <a:lnTo>
                  <a:pt x="223" y="403"/>
                </a:lnTo>
                <a:lnTo>
                  <a:pt x="242" y="399"/>
                </a:lnTo>
                <a:lnTo>
                  <a:pt x="261" y="395"/>
                </a:lnTo>
                <a:lnTo>
                  <a:pt x="280" y="394"/>
                </a:lnTo>
                <a:close/>
                <a:moveTo>
                  <a:pt x="137" y="305"/>
                </a:moveTo>
                <a:lnTo>
                  <a:pt x="424" y="305"/>
                </a:lnTo>
                <a:lnTo>
                  <a:pt x="411" y="319"/>
                </a:lnTo>
                <a:lnTo>
                  <a:pt x="395" y="332"/>
                </a:lnTo>
                <a:lnTo>
                  <a:pt x="379" y="343"/>
                </a:lnTo>
                <a:lnTo>
                  <a:pt x="362" y="352"/>
                </a:lnTo>
                <a:lnTo>
                  <a:pt x="352" y="356"/>
                </a:lnTo>
                <a:lnTo>
                  <a:pt x="343" y="359"/>
                </a:lnTo>
                <a:lnTo>
                  <a:pt x="333" y="362"/>
                </a:lnTo>
                <a:lnTo>
                  <a:pt x="323" y="364"/>
                </a:lnTo>
                <a:lnTo>
                  <a:pt x="312" y="366"/>
                </a:lnTo>
                <a:lnTo>
                  <a:pt x="302" y="369"/>
                </a:lnTo>
                <a:lnTo>
                  <a:pt x="291" y="369"/>
                </a:lnTo>
                <a:lnTo>
                  <a:pt x="280" y="370"/>
                </a:lnTo>
                <a:lnTo>
                  <a:pt x="270" y="369"/>
                </a:lnTo>
                <a:lnTo>
                  <a:pt x="259" y="369"/>
                </a:lnTo>
                <a:lnTo>
                  <a:pt x="249" y="366"/>
                </a:lnTo>
                <a:lnTo>
                  <a:pt x="238" y="364"/>
                </a:lnTo>
                <a:lnTo>
                  <a:pt x="229" y="362"/>
                </a:lnTo>
                <a:lnTo>
                  <a:pt x="219" y="359"/>
                </a:lnTo>
                <a:lnTo>
                  <a:pt x="209" y="356"/>
                </a:lnTo>
                <a:lnTo>
                  <a:pt x="200" y="352"/>
                </a:lnTo>
                <a:lnTo>
                  <a:pt x="183" y="343"/>
                </a:lnTo>
                <a:lnTo>
                  <a:pt x="166" y="332"/>
                </a:lnTo>
                <a:lnTo>
                  <a:pt x="151" y="319"/>
                </a:lnTo>
                <a:lnTo>
                  <a:pt x="137" y="305"/>
                </a:lnTo>
                <a:close/>
                <a:moveTo>
                  <a:pt x="89" y="25"/>
                </a:moveTo>
                <a:lnTo>
                  <a:pt x="471" y="25"/>
                </a:lnTo>
                <a:lnTo>
                  <a:pt x="471" y="178"/>
                </a:lnTo>
                <a:lnTo>
                  <a:pt x="471" y="192"/>
                </a:lnTo>
                <a:lnTo>
                  <a:pt x="469" y="206"/>
                </a:lnTo>
                <a:lnTo>
                  <a:pt x="467" y="219"/>
                </a:lnTo>
                <a:lnTo>
                  <a:pt x="464" y="232"/>
                </a:lnTo>
                <a:lnTo>
                  <a:pt x="460" y="245"/>
                </a:lnTo>
                <a:lnTo>
                  <a:pt x="455" y="257"/>
                </a:lnTo>
                <a:lnTo>
                  <a:pt x="450" y="269"/>
                </a:lnTo>
                <a:lnTo>
                  <a:pt x="443" y="280"/>
                </a:lnTo>
                <a:lnTo>
                  <a:pt x="118" y="280"/>
                </a:lnTo>
                <a:lnTo>
                  <a:pt x="112" y="269"/>
                </a:lnTo>
                <a:lnTo>
                  <a:pt x="106" y="257"/>
                </a:lnTo>
                <a:lnTo>
                  <a:pt x="101" y="245"/>
                </a:lnTo>
                <a:lnTo>
                  <a:pt x="97" y="232"/>
                </a:lnTo>
                <a:lnTo>
                  <a:pt x="93" y="219"/>
                </a:lnTo>
                <a:lnTo>
                  <a:pt x="91" y="206"/>
                </a:lnTo>
                <a:lnTo>
                  <a:pt x="90" y="192"/>
                </a:lnTo>
                <a:lnTo>
                  <a:pt x="89" y="178"/>
                </a:lnTo>
                <a:lnTo>
                  <a:pt x="89" y="25"/>
                </a:lnTo>
                <a:close/>
                <a:moveTo>
                  <a:pt x="548" y="738"/>
                </a:moveTo>
                <a:lnTo>
                  <a:pt x="497" y="738"/>
                </a:lnTo>
                <a:lnTo>
                  <a:pt x="497" y="585"/>
                </a:lnTo>
                <a:lnTo>
                  <a:pt x="496" y="567"/>
                </a:lnTo>
                <a:lnTo>
                  <a:pt x="494" y="550"/>
                </a:lnTo>
                <a:lnTo>
                  <a:pt x="491" y="534"/>
                </a:lnTo>
                <a:lnTo>
                  <a:pt x="486" y="517"/>
                </a:lnTo>
                <a:lnTo>
                  <a:pt x="481" y="502"/>
                </a:lnTo>
                <a:lnTo>
                  <a:pt x="474" y="487"/>
                </a:lnTo>
                <a:lnTo>
                  <a:pt x="466" y="472"/>
                </a:lnTo>
                <a:lnTo>
                  <a:pt x="457" y="459"/>
                </a:lnTo>
                <a:lnTo>
                  <a:pt x="448" y="446"/>
                </a:lnTo>
                <a:lnTo>
                  <a:pt x="437" y="434"/>
                </a:lnTo>
                <a:lnTo>
                  <a:pt x="425" y="422"/>
                </a:lnTo>
                <a:lnTo>
                  <a:pt x="412" y="413"/>
                </a:lnTo>
                <a:lnTo>
                  <a:pt x="399" y="403"/>
                </a:lnTo>
                <a:lnTo>
                  <a:pt x="386" y="395"/>
                </a:lnTo>
                <a:lnTo>
                  <a:pt x="370" y="388"/>
                </a:lnTo>
                <a:lnTo>
                  <a:pt x="355" y="381"/>
                </a:lnTo>
                <a:lnTo>
                  <a:pt x="370" y="376"/>
                </a:lnTo>
                <a:lnTo>
                  <a:pt x="386" y="369"/>
                </a:lnTo>
                <a:lnTo>
                  <a:pt x="399" y="360"/>
                </a:lnTo>
                <a:lnTo>
                  <a:pt x="412" y="351"/>
                </a:lnTo>
                <a:lnTo>
                  <a:pt x="425" y="341"/>
                </a:lnTo>
                <a:lnTo>
                  <a:pt x="437" y="330"/>
                </a:lnTo>
                <a:lnTo>
                  <a:pt x="448" y="318"/>
                </a:lnTo>
                <a:lnTo>
                  <a:pt x="457" y="305"/>
                </a:lnTo>
                <a:lnTo>
                  <a:pt x="466" y="291"/>
                </a:lnTo>
                <a:lnTo>
                  <a:pt x="474" y="277"/>
                </a:lnTo>
                <a:lnTo>
                  <a:pt x="481" y="262"/>
                </a:lnTo>
                <a:lnTo>
                  <a:pt x="486" y="246"/>
                </a:lnTo>
                <a:lnTo>
                  <a:pt x="491" y="230"/>
                </a:lnTo>
                <a:lnTo>
                  <a:pt x="494" y="214"/>
                </a:lnTo>
                <a:lnTo>
                  <a:pt x="496" y="196"/>
                </a:lnTo>
                <a:lnTo>
                  <a:pt x="497" y="178"/>
                </a:lnTo>
                <a:lnTo>
                  <a:pt x="497" y="25"/>
                </a:lnTo>
                <a:lnTo>
                  <a:pt x="548" y="25"/>
                </a:lnTo>
                <a:lnTo>
                  <a:pt x="553" y="25"/>
                </a:lnTo>
                <a:lnTo>
                  <a:pt x="557" y="22"/>
                </a:lnTo>
                <a:lnTo>
                  <a:pt x="559" y="17"/>
                </a:lnTo>
                <a:lnTo>
                  <a:pt x="561" y="13"/>
                </a:lnTo>
                <a:lnTo>
                  <a:pt x="559" y="8"/>
                </a:lnTo>
                <a:lnTo>
                  <a:pt x="557" y="3"/>
                </a:lnTo>
                <a:lnTo>
                  <a:pt x="553" y="1"/>
                </a:lnTo>
                <a:lnTo>
                  <a:pt x="548" y="0"/>
                </a:lnTo>
                <a:lnTo>
                  <a:pt x="484" y="0"/>
                </a:lnTo>
                <a:lnTo>
                  <a:pt x="76" y="0"/>
                </a:lnTo>
                <a:lnTo>
                  <a:pt x="13" y="0"/>
                </a:lnTo>
                <a:lnTo>
                  <a:pt x="8" y="1"/>
                </a:lnTo>
                <a:lnTo>
                  <a:pt x="4" y="3"/>
                </a:lnTo>
                <a:lnTo>
                  <a:pt x="1" y="8"/>
                </a:lnTo>
                <a:lnTo>
                  <a:pt x="0" y="13"/>
                </a:lnTo>
                <a:lnTo>
                  <a:pt x="1" y="17"/>
                </a:lnTo>
                <a:lnTo>
                  <a:pt x="4" y="22"/>
                </a:lnTo>
                <a:lnTo>
                  <a:pt x="8" y="25"/>
                </a:lnTo>
                <a:lnTo>
                  <a:pt x="13" y="25"/>
                </a:lnTo>
                <a:lnTo>
                  <a:pt x="64" y="25"/>
                </a:lnTo>
                <a:lnTo>
                  <a:pt x="64" y="178"/>
                </a:lnTo>
                <a:lnTo>
                  <a:pt x="64" y="195"/>
                </a:lnTo>
                <a:lnTo>
                  <a:pt x="67" y="211"/>
                </a:lnTo>
                <a:lnTo>
                  <a:pt x="69" y="227"/>
                </a:lnTo>
                <a:lnTo>
                  <a:pt x="73" y="242"/>
                </a:lnTo>
                <a:lnTo>
                  <a:pt x="78" y="257"/>
                </a:lnTo>
                <a:lnTo>
                  <a:pt x="84" y="271"/>
                </a:lnTo>
                <a:lnTo>
                  <a:pt x="91" y="285"/>
                </a:lnTo>
                <a:lnTo>
                  <a:pt x="99" y="298"/>
                </a:lnTo>
                <a:lnTo>
                  <a:pt x="100" y="301"/>
                </a:lnTo>
                <a:lnTo>
                  <a:pt x="102" y="303"/>
                </a:lnTo>
                <a:lnTo>
                  <a:pt x="112" y="316"/>
                </a:lnTo>
                <a:lnTo>
                  <a:pt x="122" y="328"/>
                </a:lnTo>
                <a:lnTo>
                  <a:pt x="135" y="340"/>
                </a:lnTo>
                <a:lnTo>
                  <a:pt x="147" y="350"/>
                </a:lnTo>
                <a:lnTo>
                  <a:pt x="161" y="360"/>
                </a:lnTo>
                <a:lnTo>
                  <a:pt x="176" y="369"/>
                </a:lnTo>
                <a:lnTo>
                  <a:pt x="191" y="376"/>
                </a:lnTo>
                <a:lnTo>
                  <a:pt x="206" y="381"/>
                </a:lnTo>
                <a:lnTo>
                  <a:pt x="191" y="388"/>
                </a:lnTo>
                <a:lnTo>
                  <a:pt x="176" y="395"/>
                </a:lnTo>
                <a:lnTo>
                  <a:pt x="162" y="404"/>
                </a:lnTo>
                <a:lnTo>
                  <a:pt x="149" y="414"/>
                </a:lnTo>
                <a:lnTo>
                  <a:pt x="136" y="423"/>
                </a:lnTo>
                <a:lnTo>
                  <a:pt x="125" y="435"/>
                </a:lnTo>
                <a:lnTo>
                  <a:pt x="114" y="447"/>
                </a:lnTo>
                <a:lnTo>
                  <a:pt x="104" y="460"/>
                </a:lnTo>
                <a:lnTo>
                  <a:pt x="95" y="474"/>
                </a:lnTo>
                <a:lnTo>
                  <a:pt x="87" y="488"/>
                </a:lnTo>
                <a:lnTo>
                  <a:pt x="81" y="503"/>
                </a:lnTo>
                <a:lnTo>
                  <a:pt x="74" y="518"/>
                </a:lnTo>
                <a:lnTo>
                  <a:pt x="70" y="534"/>
                </a:lnTo>
                <a:lnTo>
                  <a:pt x="67" y="551"/>
                </a:lnTo>
                <a:lnTo>
                  <a:pt x="64" y="568"/>
                </a:lnTo>
                <a:lnTo>
                  <a:pt x="64" y="585"/>
                </a:lnTo>
                <a:lnTo>
                  <a:pt x="64" y="738"/>
                </a:lnTo>
                <a:lnTo>
                  <a:pt x="13" y="738"/>
                </a:lnTo>
                <a:lnTo>
                  <a:pt x="8" y="739"/>
                </a:lnTo>
                <a:lnTo>
                  <a:pt x="4" y="742"/>
                </a:lnTo>
                <a:lnTo>
                  <a:pt x="1" y="747"/>
                </a:lnTo>
                <a:lnTo>
                  <a:pt x="0" y="751"/>
                </a:lnTo>
                <a:lnTo>
                  <a:pt x="1" y="756"/>
                </a:lnTo>
                <a:lnTo>
                  <a:pt x="4" y="760"/>
                </a:lnTo>
                <a:lnTo>
                  <a:pt x="8" y="763"/>
                </a:lnTo>
                <a:lnTo>
                  <a:pt x="13" y="764"/>
                </a:lnTo>
                <a:lnTo>
                  <a:pt x="76" y="764"/>
                </a:lnTo>
                <a:lnTo>
                  <a:pt x="484" y="764"/>
                </a:lnTo>
                <a:lnTo>
                  <a:pt x="548" y="764"/>
                </a:lnTo>
                <a:lnTo>
                  <a:pt x="553" y="763"/>
                </a:lnTo>
                <a:lnTo>
                  <a:pt x="557" y="760"/>
                </a:lnTo>
                <a:lnTo>
                  <a:pt x="559" y="756"/>
                </a:lnTo>
                <a:lnTo>
                  <a:pt x="561" y="751"/>
                </a:lnTo>
                <a:lnTo>
                  <a:pt x="559" y="747"/>
                </a:lnTo>
                <a:lnTo>
                  <a:pt x="557" y="742"/>
                </a:lnTo>
                <a:lnTo>
                  <a:pt x="553" y="739"/>
                </a:lnTo>
                <a:lnTo>
                  <a:pt x="548" y="7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0" name="Footer Placeholder 3">
            <a:extLst>
              <a:ext uri="{FF2B5EF4-FFF2-40B4-BE49-F238E27FC236}">
                <a16:creationId xmlns:a16="http://schemas.microsoft.com/office/drawing/2014/main" id="{20C19B1E-0019-7645-866A-5D80FEC11D92}"/>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HMS a Gainwell Company Confidential</a:t>
            </a:r>
            <a:r>
              <a:rPr kumimoji="0" lang="en-US" sz="800" b="0" i="0" u="none" strike="noStrike" kern="1200" cap="none" spc="0" normalizeH="0" baseline="0" noProof="0" dirty="0">
                <a:ln>
                  <a:noFill/>
                </a:ln>
                <a:solidFill>
                  <a:srgbClr val="68767E"/>
                </a:solidFill>
                <a:effectLst/>
                <a:uLnTx/>
                <a:uFillTx/>
                <a:latin typeface="Arial" charset="0"/>
                <a:ea typeface="+mn-ea"/>
                <a:cs typeface="+mn-cs"/>
              </a:rPr>
              <a:t>. Do not distribute.</a:t>
            </a:r>
          </a:p>
        </p:txBody>
      </p:sp>
      <p:sp>
        <p:nvSpPr>
          <p:cNvPr id="14" name="TextBox 13">
            <a:extLst>
              <a:ext uri="{FF2B5EF4-FFF2-40B4-BE49-F238E27FC236}">
                <a16:creationId xmlns:a16="http://schemas.microsoft.com/office/drawing/2014/main" id="{706F9670-DF2D-45D5-9322-E00AE4B176E1}"/>
              </a:ext>
            </a:extLst>
          </p:cNvPr>
          <p:cNvSpPr txBox="1"/>
          <p:nvPr/>
        </p:nvSpPr>
        <p:spPr>
          <a:xfrm>
            <a:off x="421231" y="5207228"/>
            <a:ext cx="5580175" cy="1044901"/>
          </a:xfrm>
          <a:prstGeom prst="rect">
            <a:avLst/>
          </a:prstGeom>
          <a:noFill/>
        </p:spPr>
        <p:txBody>
          <a:bodyPr wrap="square">
            <a:spAutoFit/>
          </a:bodyPr>
          <a:lstStyle/>
          <a:p>
            <a:pPr>
              <a:lnSpc>
                <a:spcPct val="90000"/>
              </a:lnSpc>
              <a:spcAft>
                <a:spcPts val="300"/>
              </a:spcAft>
              <a:buClr>
                <a:srgbClr val="FF6633"/>
              </a:buClr>
            </a:pPr>
            <a:r>
              <a:rPr lang="en-US" b="1" dirty="0">
                <a:latin typeface="Arial" panose="020B0604020202020204"/>
              </a:rPr>
              <a:t>HMS protects your data including PHI. </a:t>
            </a:r>
          </a:p>
          <a:p>
            <a:pPr marL="285750" lvl="1" indent="-285750">
              <a:lnSpc>
                <a:spcPct val="90000"/>
              </a:lnSpc>
              <a:spcAft>
                <a:spcPts val="0"/>
              </a:spcAft>
              <a:buClr>
                <a:srgbClr val="FF6633"/>
              </a:buClr>
              <a:buFont typeface="Wingdings" pitchFamily="2" charset="2"/>
              <a:buChar char="§"/>
            </a:pPr>
            <a:r>
              <a:rPr lang="en-US" sz="1600" dirty="0">
                <a:latin typeface="Arial" panose="020B0604020202020204"/>
              </a:rPr>
              <a:t>HMS protects data provided by providers and Health First Colorado using the highest security standards in the industry. </a:t>
            </a:r>
          </a:p>
        </p:txBody>
      </p:sp>
      <p:sp>
        <p:nvSpPr>
          <p:cNvPr id="16" name="Rectangle 15">
            <a:extLst>
              <a:ext uri="{FF2B5EF4-FFF2-40B4-BE49-F238E27FC236}">
                <a16:creationId xmlns:a16="http://schemas.microsoft.com/office/drawing/2014/main" id="{5A1628F5-9940-4853-865C-E4AD132DC2C8}"/>
              </a:ext>
            </a:extLst>
          </p:cNvPr>
          <p:cNvSpPr/>
          <p:nvPr/>
        </p:nvSpPr>
        <p:spPr>
          <a:xfrm>
            <a:off x="6907922" y="147104"/>
            <a:ext cx="4957440" cy="6223919"/>
          </a:xfrm>
          <a:prstGeom prst="rect">
            <a:avLst/>
          </a:prstGeom>
          <a:solidFill>
            <a:schemeClr val="tx2">
              <a:lumMod val="75000"/>
              <a:alpha val="88000"/>
            </a:schemeClr>
          </a:solidFill>
          <a:ln>
            <a:noFill/>
          </a:ln>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17" name="TextBox 16">
            <a:extLst>
              <a:ext uri="{FF2B5EF4-FFF2-40B4-BE49-F238E27FC236}">
                <a16:creationId xmlns:a16="http://schemas.microsoft.com/office/drawing/2014/main" id="{D00972B8-41E0-4565-A068-AA65179CD2DA}"/>
              </a:ext>
            </a:extLst>
          </p:cNvPr>
          <p:cNvSpPr txBox="1"/>
          <p:nvPr/>
        </p:nvSpPr>
        <p:spPr>
          <a:xfrm>
            <a:off x="7091197" y="1142805"/>
            <a:ext cx="4590890" cy="3676391"/>
          </a:xfrm>
          <a:prstGeom prst="rect">
            <a:avLst/>
          </a:prstGeom>
          <a:noFill/>
        </p:spPr>
        <p:txBody>
          <a:bodyPr wrap="square">
            <a:spAutoFit/>
          </a:bodyPr>
          <a:lstStyle/>
          <a:p>
            <a:pPr>
              <a:lnSpc>
                <a:spcPct val="90000"/>
              </a:lnSpc>
              <a:spcAft>
                <a:spcPts val="300"/>
              </a:spcAft>
              <a:buClr>
                <a:srgbClr val="FF6633"/>
              </a:buClr>
            </a:pPr>
            <a:r>
              <a:rPr lang="en-US" sz="2800" b="1" spc="-150" dirty="0">
                <a:solidFill>
                  <a:srgbClr val="FA5616"/>
                </a:solidFill>
                <a:cs typeface="Arial" charset="0"/>
              </a:rPr>
              <a:t>We encourage Providers to submit records electronically</a:t>
            </a:r>
          </a:p>
          <a:p>
            <a:pPr marL="285750" lvl="1" indent="-285750">
              <a:lnSpc>
                <a:spcPct val="90000"/>
              </a:lnSpc>
              <a:spcAft>
                <a:spcPts val="0"/>
              </a:spcAft>
              <a:buClr>
                <a:srgbClr val="FF6633"/>
              </a:buClr>
              <a:buFont typeface="Wingdings" pitchFamily="2" charset="2"/>
              <a:buChar char="§"/>
            </a:pPr>
            <a:r>
              <a:rPr lang="en-US" sz="2000" dirty="0">
                <a:solidFill>
                  <a:schemeClr val="bg1"/>
                </a:solidFill>
                <a:latin typeface="Arial" panose="020B0604020202020204"/>
              </a:rPr>
              <a:t>Electronic submission reduces the risk of mailing delivery delays</a:t>
            </a:r>
          </a:p>
          <a:p>
            <a:pPr marL="285750" lvl="1" indent="-285750">
              <a:lnSpc>
                <a:spcPct val="90000"/>
              </a:lnSpc>
              <a:spcAft>
                <a:spcPts val="0"/>
              </a:spcAft>
              <a:buClr>
                <a:srgbClr val="FF6633"/>
              </a:buClr>
              <a:buFont typeface="Wingdings" pitchFamily="2" charset="2"/>
              <a:buChar char="§"/>
            </a:pPr>
            <a:r>
              <a:rPr lang="en-US" sz="2000" dirty="0">
                <a:solidFill>
                  <a:schemeClr val="bg1"/>
                </a:solidFill>
                <a:latin typeface="Arial" panose="020B0604020202020204"/>
              </a:rPr>
              <a:t>Reduces the expense of copying records and mailing costs</a:t>
            </a:r>
          </a:p>
          <a:p>
            <a:pPr marL="285750" lvl="1" indent="-285750">
              <a:lnSpc>
                <a:spcPct val="90000"/>
              </a:lnSpc>
              <a:spcAft>
                <a:spcPts val="0"/>
              </a:spcAft>
              <a:buClr>
                <a:srgbClr val="FF6633"/>
              </a:buClr>
              <a:buFont typeface="Wingdings" pitchFamily="2" charset="2"/>
              <a:buChar char="§"/>
            </a:pPr>
            <a:r>
              <a:rPr lang="en-US" sz="2000" dirty="0">
                <a:solidFill>
                  <a:schemeClr val="bg1"/>
                </a:solidFill>
                <a:latin typeface="Arial" panose="020B0604020202020204"/>
              </a:rPr>
              <a:t>Providers receive immediate confirmation that records were received if submitted electronically. </a:t>
            </a:r>
          </a:p>
          <a:p>
            <a:pPr marL="285750" lvl="1" indent="-285750">
              <a:lnSpc>
                <a:spcPct val="90000"/>
              </a:lnSpc>
              <a:spcAft>
                <a:spcPts val="0"/>
              </a:spcAft>
              <a:buClr>
                <a:srgbClr val="FF6633"/>
              </a:buClr>
              <a:buFont typeface="Wingdings" pitchFamily="2" charset="2"/>
              <a:buChar char="§"/>
            </a:pPr>
            <a:r>
              <a:rPr lang="en-US" sz="2000" dirty="0">
                <a:solidFill>
                  <a:schemeClr val="bg1"/>
                </a:solidFill>
                <a:latin typeface="Arial" panose="020B0604020202020204"/>
              </a:rPr>
              <a:t>For questions about how to submit records electronically, please contact </a:t>
            </a:r>
            <a:r>
              <a:rPr lang="en-US" sz="2000" b="1" dirty="0">
                <a:solidFill>
                  <a:schemeClr val="accent4"/>
                </a:solidFill>
                <a:latin typeface="Arial" panose="020B0604020202020204"/>
              </a:rPr>
              <a:t>GoGreen@hms.com</a:t>
            </a:r>
          </a:p>
        </p:txBody>
      </p:sp>
    </p:spTree>
    <p:extLst>
      <p:ext uri="{BB962C8B-B14F-4D97-AF65-F5344CB8AC3E}">
        <p14:creationId xmlns:p14="http://schemas.microsoft.com/office/powerpoint/2010/main" val="15988654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F11BBC28-4B69-4B1A-9068-AFD293C1BB3B}"/>
              </a:ext>
            </a:extLst>
          </p:cNvPr>
          <p:cNvSpPr/>
          <p:nvPr/>
        </p:nvSpPr>
        <p:spPr>
          <a:xfrm rot="16200000">
            <a:off x="3707311" y="3340106"/>
            <a:ext cx="992778" cy="177792"/>
          </a:xfrm>
          <a:prstGeom prst="roundRect">
            <a:avLst>
              <a:gd name="adj" fmla="val 50000"/>
            </a:avLst>
          </a:prstGeom>
          <a:solidFill>
            <a:schemeClr val="accent4"/>
          </a:solidFill>
          <a:ln>
            <a:noFill/>
          </a:ln>
        </p:spPr>
        <p:txBody>
          <a:bodyPr rtlCol="0" anchor="ctr">
            <a:noAutofit/>
          </a:bodyPr>
          <a:lstStyle/>
          <a:p>
            <a:pPr algn="ctr"/>
            <a:endParaRPr lang="en-US" sz="7200" b="1" spc="-300" dirty="0">
              <a:solidFill>
                <a:schemeClr val="bg1"/>
              </a:solidFill>
            </a:endParaRPr>
          </a:p>
        </p:txBody>
      </p:sp>
      <p:pic>
        <p:nvPicPr>
          <p:cNvPr id="32" name="Picture 31">
            <a:extLst>
              <a:ext uri="{FF2B5EF4-FFF2-40B4-BE49-F238E27FC236}">
                <a16:creationId xmlns:a16="http://schemas.microsoft.com/office/drawing/2014/main" id="{DF7F5256-FE41-491E-B444-7DAF858F1DA7}"/>
              </a:ext>
            </a:extLst>
          </p:cNvPr>
          <p:cNvPicPr>
            <a:picLocks noChangeAspect="1"/>
          </p:cNvPicPr>
          <p:nvPr/>
        </p:nvPicPr>
        <p:blipFill rotWithShape="1">
          <a:blip r:embed="rId3"/>
          <a:srcRect l="631" t="-61" b="1854"/>
          <a:stretch/>
        </p:blipFill>
        <p:spPr>
          <a:xfrm>
            <a:off x="4203699" y="796832"/>
            <a:ext cx="7988301" cy="5264336"/>
          </a:xfrm>
          <a:prstGeom prst="rect">
            <a:avLst/>
          </a:prstGeom>
        </p:spPr>
      </p:pic>
      <p:grpSp>
        <p:nvGrpSpPr>
          <p:cNvPr id="28" name="Group 27">
            <a:extLst>
              <a:ext uri="{FF2B5EF4-FFF2-40B4-BE49-F238E27FC236}">
                <a16:creationId xmlns:a16="http://schemas.microsoft.com/office/drawing/2014/main" id="{E7C20ACD-38FD-435F-A4E1-3474F2DC57C1}"/>
              </a:ext>
            </a:extLst>
          </p:cNvPr>
          <p:cNvGrpSpPr/>
          <p:nvPr/>
        </p:nvGrpSpPr>
        <p:grpSpPr>
          <a:xfrm>
            <a:off x="838200" y="2217281"/>
            <a:ext cx="2705099" cy="2423438"/>
            <a:chOff x="838200" y="2214602"/>
            <a:chExt cx="2705099" cy="2423438"/>
          </a:xfrm>
        </p:grpSpPr>
        <p:sp>
          <p:nvSpPr>
            <p:cNvPr id="5" name="Rectangle: Rounded Corners 4">
              <a:extLst>
                <a:ext uri="{FF2B5EF4-FFF2-40B4-BE49-F238E27FC236}">
                  <a16:creationId xmlns:a16="http://schemas.microsoft.com/office/drawing/2014/main" id="{CFABAC49-2654-400E-868B-E09928F31514}"/>
                </a:ext>
              </a:extLst>
            </p:cNvPr>
            <p:cNvSpPr/>
            <p:nvPr/>
          </p:nvSpPr>
          <p:spPr>
            <a:xfrm>
              <a:off x="927100" y="4117340"/>
              <a:ext cx="2374900" cy="520700"/>
            </a:xfrm>
            <a:prstGeom prst="roundRect">
              <a:avLst>
                <a:gd name="adj" fmla="val 50000"/>
              </a:avLst>
            </a:prstGeom>
            <a:ln w="12700">
              <a:solidFill>
                <a:schemeClr val="tx2"/>
              </a:solidFill>
            </a:ln>
          </p:spPr>
          <p:txBody>
            <a:bodyPr rtlCol="0" anchor="ctr">
              <a:noAutofit/>
            </a:bodyPr>
            <a:lstStyle/>
            <a:p>
              <a:pPr marL="0" indent="0" algn="ctr">
                <a:buNone/>
              </a:pPr>
              <a:r>
                <a:rPr lang="en-US" b="1" dirty="0">
                  <a:solidFill>
                    <a:schemeClr val="tx2"/>
                  </a:solidFill>
                </a:rPr>
                <a:t>Electronic Method</a:t>
              </a:r>
            </a:p>
          </p:txBody>
        </p:sp>
        <p:sp>
          <p:nvSpPr>
            <p:cNvPr id="8" name="Rectangle 7">
              <a:extLst>
                <a:ext uri="{FF2B5EF4-FFF2-40B4-BE49-F238E27FC236}">
                  <a16:creationId xmlns:a16="http://schemas.microsoft.com/office/drawing/2014/main" id="{741DE7ED-4F8F-43CA-B7D2-7F1ACC44BBD0}"/>
                </a:ext>
              </a:extLst>
            </p:cNvPr>
            <p:cNvSpPr/>
            <p:nvPr/>
          </p:nvSpPr>
          <p:spPr>
            <a:xfrm>
              <a:off x="838200" y="2214602"/>
              <a:ext cx="2705099" cy="1754326"/>
            </a:xfrm>
            <a:prstGeom prst="rect">
              <a:avLst/>
            </a:prstGeom>
          </p:spPr>
          <p:txBody>
            <a:bodyPr wrap="square">
              <a:spAutoFit/>
            </a:bodyPr>
            <a:lstStyle/>
            <a:p>
              <a:r>
                <a:rPr lang="en-US" sz="3600" b="1" dirty="0">
                  <a:solidFill>
                    <a:schemeClr val="accent4"/>
                  </a:solidFill>
                </a:rPr>
                <a:t>Submitting Medical Records</a:t>
              </a:r>
            </a:p>
          </p:txBody>
        </p:sp>
      </p:grpSp>
      <p:sp>
        <p:nvSpPr>
          <p:cNvPr id="10" name="Rectangle 9">
            <a:extLst>
              <a:ext uri="{FF2B5EF4-FFF2-40B4-BE49-F238E27FC236}">
                <a16:creationId xmlns:a16="http://schemas.microsoft.com/office/drawing/2014/main" id="{80E8ADFC-1E42-4FCE-B6A9-3B223ACA7673}"/>
              </a:ext>
            </a:extLst>
          </p:cNvPr>
          <p:cNvSpPr/>
          <p:nvPr/>
        </p:nvSpPr>
        <p:spPr>
          <a:xfrm>
            <a:off x="4203699" y="796834"/>
            <a:ext cx="7988301" cy="5264334"/>
          </a:xfrm>
          <a:prstGeom prst="rect">
            <a:avLst/>
          </a:prstGeom>
          <a:solidFill>
            <a:schemeClr val="tx2">
              <a:alpha val="90000"/>
            </a:schemeClr>
          </a:solidFill>
        </p:spPr>
        <p:txBody>
          <a:bodyPr rtlCol="0" anchor="ctr">
            <a:noAutofit/>
          </a:bodyPr>
          <a:lstStyle/>
          <a:p>
            <a:pPr algn="ctr"/>
            <a:endParaRPr lang="en-US" sz="7200" b="1" spc="-300" dirty="0">
              <a:solidFill>
                <a:schemeClr val="bg1"/>
              </a:solidFill>
            </a:endParaRPr>
          </a:p>
        </p:txBody>
      </p:sp>
      <p:sp>
        <p:nvSpPr>
          <p:cNvPr id="4" name="Slide Number Placeholder 3">
            <a:extLst>
              <a:ext uri="{FF2B5EF4-FFF2-40B4-BE49-F238E27FC236}">
                <a16:creationId xmlns:a16="http://schemas.microsoft.com/office/drawing/2014/main" id="{63C3EB51-B71B-48EE-8831-34977D71E194}"/>
              </a:ext>
            </a:extLst>
          </p:cNvPr>
          <p:cNvSpPr>
            <a:spLocks noGrp="1"/>
          </p:cNvSpPr>
          <p:nvPr>
            <p:ph type="sldNum" sz="quarter" idx="10"/>
          </p:nvPr>
        </p:nvSpPr>
        <p:spPr/>
        <p:txBody>
          <a:bodyPr/>
          <a:lstStyle/>
          <a:p>
            <a:fld id="{E1D6E511-78F2-1D4C-8218-60E971E66380}" type="slidenum">
              <a:rPr lang="en-US" altLang="en-US" smtClean="0"/>
              <a:pPr/>
              <a:t>8</a:t>
            </a:fld>
            <a:endParaRPr lang="en-US" altLang="en-US" dirty="0"/>
          </a:p>
        </p:txBody>
      </p:sp>
      <p:grpSp>
        <p:nvGrpSpPr>
          <p:cNvPr id="30" name="Group 29">
            <a:extLst>
              <a:ext uri="{FF2B5EF4-FFF2-40B4-BE49-F238E27FC236}">
                <a16:creationId xmlns:a16="http://schemas.microsoft.com/office/drawing/2014/main" id="{AB375F9E-C0AA-46DE-B2F9-077D0F5115F3}"/>
              </a:ext>
            </a:extLst>
          </p:cNvPr>
          <p:cNvGrpSpPr/>
          <p:nvPr/>
        </p:nvGrpSpPr>
        <p:grpSpPr>
          <a:xfrm>
            <a:off x="4810712" y="1205944"/>
            <a:ext cx="6774271" cy="4353779"/>
            <a:chOff x="4810713" y="1159779"/>
            <a:chExt cx="6774271" cy="4353779"/>
          </a:xfrm>
        </p:grpSpPr>
        <p:sp>
          <p:nvSpPr>
            <p:cNvPr id="12" name="Rectangle 11">
              <a:extLst>
                <a:ext uri="{FF2B5EF4-FFF2-40B4-BE49-F238E27FC236}">
                  <a16:creationId xmlns:a16="http://schemas.microsoft.com/office/drawing/2014/main" id="{0EA79784-76C2-4683-A7C4-014A9D8BFF01}"/>
                </a:ext>
              </a:extLst>
            </p:cNvPr>
            <p:cNvSpPr/>
            <p:nvPr/>
          </p:nvSpPr>
          <p:spPr>
            <a:xfrm>
              <a:off x="4810714" y="1159779"/>
              <a:ext cx="6774269" cy="2031325"/>
            </a:xfrm>
            <a:prstGeom prst="rect">
              <a:avLst/>
            </a:prstGeom>
          </p:spPr>
          <p:txBody>
            <a:bodyPr wrap="square" lIns="0" tIns="0" rIns="0" bIns="0">
              <a:spAutoFit/>
            </a:bodyPr>
            <a:lstStyle/>
            <a:p>
              <a:r>
                <a:rPr lang="en-US" b="1" u="sng" dirty="0">
                  <a:solidFill>
                    <a:schemeClr val="bg1"/>
                  </a:solidFill>
                </a:rPr>
                <a:t>Sending files electronically is the fastest, most convenient and preferred method</a:t>
              </a:r>
            </a:p>
            <a:p>
              <a:pPr marL="237744" lvl="1" indent="-237744">
                <a:buFont typeface="Arial" panose="020B0604020202020204" pitchFamily="34" charset="0"/>
                <a:buChar char="•"/>
              </a:pPr>
              <a:r>
                <a:rPr lang="en-US" sz="1400" dirty="0">
                  <a:solidFill>
                    <a:schemeClr val="bg1"/>
                  </a:solidFill>
                </a:rPr>
                <a:t>Data is sent via secure file transfer protocol (SFTP) or through the HMS Provider Portal </a:t>
              </a:r>
              <a:r>
                <a:rPr lang="en-US" sz="1400" dirty="0">
                  <a:solidFill>
                    <a:schemeClr val="bg1"/>
                  </a:solidFill>
                  <a:hlinkClick r:id="rId4">
                    <a:extLst>
                      <a:ext uri="{A12FA001-AC4F-418D-AE19-62706E023703}">
                        <ahyp:hlinkClr xmlns:ahyp="http://schemas.microsoft.com/office/drawing/2018/hyperlinkcolor" val="tx"/>
                      </a:ext>
                    </a:extLst>
                  </a:hlinkClick>
                </a:rPr>
                <a:t>https://hmsportal.hms.com/</a:t>
              </a:r>
              <a:r>
                <a:rPr lang="en-US" sz="1400" dirty="0">
                  <a:solidFill>
                    <a:schemeClr val="bg1"/>
                  </a:solidFill>
                </a:rPr>
                <a:t> * - both methods are secure</a:t>
              </a:r>
            </a:p>
            <a:p>
              <a:pPr marL="237744" lvl="1" indent="-237744">
                <a:buFont typeface="Arial" panose="020B0604020202020204" pitchFamily="34" charset="0"/>
                <a:buChar char="•"/>
              </a:pPr>
              <a:r>
                <a:rPr lang="en-US" sz="1400" dirty="0">
                  <a:solidFill>
                    <a:schemeClr val="bg1"/>
                  </a:solidFill>
                </a:rPr>
                <a:t>To set up an SFTP connection, emails us at GoGreen@hms.com. </a:t>
              </a:r>
            </a:p>
            <a:p>
              <a:pPr marL="237744" lvl="1" indent="-237744">
                <a:buFont typeface="Arial" panose="020B0604020202020204" pitchFamily="34" charset="0"/>
                <a:buChar char="•"/>
              </a:pPr>
              <a:r>
                <a:rPr lang="en-US" sz="1400" dirty="0">
                  <a:solidFill>
                    <a:schemeClr val="bg1"/>
                  </a:solidFill>
                </a:rPr>
                <a:t>Self Register for a Provider Portal account at: https://hmsportal.hms.com/registration or email us at hmsppuserverification@hms.com</a:t>
              </a:r>
            </a:p>
            <a:p>
              <a:pPr marL="0" lvl="1"/>
              <a:endParaRPr lang="en-US" sz="1200" dirty="0">
                <a:solidFill>
                  <a:schemeClr val="bg1"/>
                </a:solidFill>
              </a:endParaRPr>
            </a:p>
          </p:txBody>
        </p:sp>
        <p:sp>
          <p:nvSpPr>
            <p:cNvPr id="13" name="Rectangle 12">
              <a:extLst>
                <a:ext uri="{FF2B5EF4-FFF2-40B4-BE49-F238E27FC236}">
                  <a16:creationId xmlns:a16="http://schemas.microsoft.com/office/drawing/2014/main" id="{19B423C2-0D78-4A0C-9835-A168F04E5FBE}"/>
                </a:ext>
              </a:extLst>
            </p:cNvPr>
            <p:cNvSpPr/>
            <p:nvPr/>
          </p:nvSpPr>
          <p:spPr>
            <a:xfrm>
              <a:off x="4810715" y="3228947"/>
              <a:ext cx="6774269" cy="1107996"/>
            </a:xfrm>
            <a:prstGeom prst="rect">
              <a:avLst/>
            </a:prstGeom>
          </p:spPr>
          <p:txBody>
            <a:bodyPr wrap="square" lIns="0" tIns="0" rIns="0" bIns="0">
              <a:spAutoFit/>
            </a:bodyPr>
            <a:lstStyle/>
            <a:p>
              <a:r>
                <a:rPr lang="en-US" sz="1600" dirty="0">
                  <a:solidFill>
                    <a:schemeClr val="bg1"/>
                  </a:solidFill>
                </a:rPr>
                <a:t>To start sending files through your new connection, keep this in mind:</a:t>
              </a:r>
            </a:p>
            <a:p>
              <a:pPr marL="237744" lvl="1" indent="-237744">
                <a:buFont typeface="Arial" panose="020B0604020202020204" pitchFamily="34" charset="0"/>
                <a:buChar char="•"/>
              </a:pPr>
              <a:r>
                <a:rPr lang="en-US" sz="1400" dirty="0">
                  <a:solidFill>
                    <a:schemeClr val="bg1"/>
                  </a:solidFill>
                </a:rPr>
                <a:t>Ensure your documentation is legible with good quality image scans.</a:t>
              </a:r>
            </a:p>
            <a:p>
              <a:pPr marL="237744" lvl="1" indent="-237744">
                <a:buFont typeface="Arial" panose="020B0604020202020204" pitchFamily="34" charset="0"/>
                <a:buChar char="•"/>
              </a:pPr>
              <a:r>
                <a:rPr lang="en-US" sz="1400" dirty="0">
                  <a:solidFill>
                    <a:schemeClr val="bg1"/>
                  </a:solidFill>
                </a:rPr>
                <a:t>Records should support the level of care provided for the dates of service requested, including inpatient admission orders, physician documentation and notes, and physician orders.</a:t>
              </a:r>
            </a:p>
          </p:txBody>
        </p:sp>
        <p:sp>
          <p:nvSpPr>
            <p:cNvPr id="14" name="Rectangle 13">
              <a:extLst>
                <a:ext uri="{FF2B5EF4-FFF2-40B4-BE49-F238E27FC236}">
                  <a16:creationId xmlns:a16="http://schemas.microsoft.com/office/drawing/2014/main" id="{EC8FEBDF-5B8E-4285-B63D-042B1CDB515D}"/>
                </a:ext>
              </a:extLst>
            </p:cNvPr>
            <p:cNvSpPr/>
            <p:nvPr/>
          </p:nvSpPr>
          <p:spPr>
            <a:xfrm>
              <a:off x="4810715" y="4621006"/>
              <a:ext cx="6774269" cy="892552"/>
            </a:xfrm>
            <a:prstGeom prst="rect">
              <a:avLst/>
            </a:prstGeom>
          </p:spPr>
          <p:txBody>
            <a:bodyPr wrap="square" lIns="0" tIns="0" rIns="0" bIns="0">
              <a:spAutoFit/>
            </a:bodyPr>
            <a:lstStyle/>
            <a:p>
              <a:r>
                <a:rPr lang="en-US" sz="1600" dirty="0">
                  <a:solidFill>
                    <a:schemeClr val="bg1"/>
                  </a:solidFill>
                </a:rPr>
                <a:t>Important check point:</a:t>
              </a:r>
            </a:p>
            <a:p>
              <a:pPr marL="237744" lvl="1" indent="-237744">
                <a:buFont typeface="Arial" panose="020B0604020202020204" pitchFamily="34" charset="0"/>
                <a:buChar char="•"/>
              </a:pPr>
              <a:r>
                <a:rPr lang="en-US" sz="1400" dirty="0">
                  <a:solidFill>
                    <a:schemeClr val="bg1"/>
                  </a:solidFill>
                </a:rPr>
                <a:t>If your medical records systems use a PowerPlan</a:t>
              </a:r>
              <a:r>
                <a:rPr lang="en-US" sz="1400" baseline="30000" dirty="0">
                  <a:solidFill>
                    <a:schemeClr val="bg1"/>
                  </a:solidFill>
                </a:rPr>
                <a:t>®</a:t>
              </a:r>
              <a:r>
                <a:rPr lang="en-US" sz="1400" dirty="0">
                  <a:solidFill>
                    <a:schemeClr val="bg1"/>
                  </a:solidFill>
                </a:rPr>
                <a:t>-type digital signature documentation, ensure the authentication or validation is included with your medical record submission.  </a:t>
              </a:r>
            </a:p>
          </p:txBody>
        </p:sp>
        <p:cxnSp>
          <p:nvCxnSpPr>
            <p:cNvPr id="22" name="Straight Connector 21">
              <a:extLst>
                <a:ext uri="{FF2B5EF4-FFF2-40B4-BE49-F238E27FC236}">
                  <a16:creationId xmlns:a16="http://schemas.microsoft.com/office/drawing/2014/main" id="{D07C67D7-4455-4E62-A395-DDCD12982150}"/>
                </a:ext>
              </a:extLst>
            </p:cNvPr>
            <p:cNvCxnSpPr>
              <a:cxnSpLocks/>
            </p:cNvCxnSpPr>
            <p:nvPr/>
          </p:nvCxnSpPr>
          <p:spPr>
            <a:xfrm>
              <a:off x="4810713" y="3063158"/>
              <a:ext cx="6774269" cy="0"/>
            </a:xfrm>
            <a:prstGeom prst="line">
              <a:avLst/>
            </a:prstGeom>
            <a:ln w="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BF636C-8343-4932-8A86-37F80332AA4D}"/>
                </a:ext>
              </a:extLst>
            </p:cNvPr>
            <p:cNvCxnSpPr>
              <a:cxnSpLocks/>
            </p:cNvCxnSpPr>
            <p:nvPr/>
          </p:nvCxnSpPr>
          <p:spPr>
            <a:xfrm>
              <a:off x="4810715" y="4402030"/>
              <a:ext cx="6774269" cy="0"/>
            </a:xfrm>
            <a:prstGeom prst="line">
              <a:avLst/>
            </a:prstGeom>
            <a:ln w="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16CAD25F-9B64-6495-45FA-4348E40CDB49}"/>
              </a:ext>
            </a:extLst>
          </p:cNvPr>
          <p:cNvSpPr txBox="1"/>
          <p:nvPr/>
        </p:nvSpPr>
        <p:spPr>
          <a:xfrm>
            <a:off x="7756900" y="6039851"/>
            <a:ext cx="4523995" cy="261610"/>
          </a:xfrm>
          <a:prstGeom prst="rect">
            <a:avLst/>
          </a:prstGeom>
          <a:noFill/>
        </p:spPr>
        <p:txBody>
          <a:bodyPr wrap="none" rtlCol="0">
            <a:spAutoFit/>
          </a:bodyPr>
          <a:lstStyle/>
          <a:p>
            <a:r>
              <a:rPr lang="en-US" sz="1100" dirty="0"/>
              <a:t>* refer to slide 27 for additional assistance uploading medical records </a:t>
            </a:r>
          </a:p>
        </p:txBody>
      </p:sp>
      <p:sp>
        <p:nvSpPr>
          <p:cNvPr id="3" name="Footer Placeholder 3">
            <a:extLst>
              <a:ext uri="{FF2B5EF4-FFF2-40B4-BE49-F238E27FC236}">
                <a16:creationId xmlns:a16="http://schemas.microsoft.com/office/drawing/2014/main" id="{27520622-CC20-ED7F-07D8-939D5DDBEBB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36284609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Rounded Corners 26">
            <a:extLst>
              <a:ext uri="{FF2B5EF4-FFF2-40B4-BE49-F238E27FC236}">
                <a16:creationId xmlns:a16="http://schemas.microsoft.com/office/drawing/2014/main" id="{F11BBC28-4B69-4B1A-9068-AFD293C1BB3B}"/>
              </a:ext>
            </a:extLst>
          </p:cNvPr>
          <p:cNvSpPr/>
          <p:nvPr/>
        </p:nvSpPr>
        <p:spPr>
          <a:xfrm rot="16200000">
            <a:off x="3707311" y="3340106"/>
            <a:ext cx="992778" cy="177792"/>
          </a:xfrm>
          <a:prstGeom prst="roundRect">
            <a:avLst>
              <a:gd name="adj" fmla="val 50000"/>
            </a:avLst>
          </a:prstGeom>
          <a:solidFill>
            <a:schemeClr val="accent4"/>
          </a:solidFill>
          <a:ln>
            <a:noFill/>
          </a:ln>
        </p:spPr>
        <p:txBody>
          <a:bodyPr rtlCol="0" anchor="ctr">
            <a:noAutofit/>
          </a:bodyPr>
          <a:lstStyle/>
          <a:p>
            <a:pPr algn="ctr"/>
            <a:endParaRPr lang="en-US" sz="7200" b="1" spc="-300" dirty="0">
              <a:solidFill>
                <a:schemeClr val="bg1"/>
              </a:solidFill>
            </a:endParaRPr>
          </a:p>
        </p:txBody>
      </p:sp>
      <p:pic>
        <p:nvPicPr>
          <p:cNvPr id="25" name="Picture 24">
            <a:extLst>
              <a:ext uri="{FF2B5EF4-FFF2-40B4-BE49-F238E27FC236}">
                <a16:creationId xmlns:a16="http://schemas.microsoft.com/office/drawing/2014/main" id="{8E7E8CA6-5A4D-443E-8A94-DE2928DA9179}"/>
              </a:ext>
            </a:extLst>
          </p:cNvPr>
          <p:cNvPicPr>
            <a:picLocks noChangeAspect="1"/>
          </p:cNvPicPr>
          <p:nvPr/>
        </p:nvPicPr>
        <p:blipFill rotWithShape="1">
          <a:blip r:embed="rId3"/>
          <a:srcRect l="631" t="-61" b="1854"/>
          <a:stretch/>
        </p:blipFill>
        <p:spPr>
          <a:xfrm>
            <a:off x="4203699" y="796832"/>
            <a:ext cx="7988301" cy="5264336"/>
          </a:xfrm>
          <a:prstGeom prst="rect">
            <a:avLst/>
          </a:prstGeom>
        </p:spPr>
      </p:pic>
      <p:grpSp>
        <p:nvGrpSpPr>
          <p:cNvPr id="28" name="Group 27">
            <a:extLst>
              <a:ext uri="{FF2B5EF4-FFF2-40B4-BE49-F238E27FC236}">
                <a16:creationId xmlns:a16="http://schemas.microsoft.com/office/drawing/2014/main" id="{E7C20ACD-38FD-435F-A4E1-3474F2DC57C1}"/>
              </a:ext>
            </a:extLst>
          </p:cNvPr>
          <p:cNvGrpSpPr/>
          <p:nvPr/>
        </p:nvGrpSpPr>
        <p:grpSpPr>
          <a:xfrm>
            <a:off x="838200" y="2217281"/>
            <a:ext cx="2705099" cy="2423438"/>
            <a:chOff x="838200" y="2214602"/>
            <a:chExt cx="2705099" cy="2423438"/>
          </a:xfrm>
        </p:grpSpPr>
        <p:sp>
          <p:nvSpPr>
            <p:cNvPr id="5" name="Rectangle: Rounded Corners 4">
              <a:extLst>
                <a:ext uri="{FF2B5EF4-FFF2-40B4-BE49-F238E27FC236}">
                  <a16:creationId xmlns:a16="http://schemas.microsoft.com/office/drawing/2014/main" id="{CFABAC49-2654-400E-868B-E09928F31514}"/>
                </a:ext>
              </a:extLst>
            </p:cNvPr>
            <p:cNvSpPr/>
            <p:nvPr/>
          </p:nvSpPr>
          <p:spPr>
            <a:xfrm>
              <a:off x="927100" y="4117340"/>
              <a:ext cx="2374900" cy="520700"/>
            </a:xfrm>
            <a:prstGeom prst="roundRect">
              <a:avLst>
                <a:gd name="adj" fmla="val 50000"/>
              </a:avLst>
            </a:prstGeom>
            <a:ln w="12700">
              <a:solidFill>
                <a:schemeClr val="tx2"/>
              </a:solidFill>
            </a:ln>
          </p:spPr>
          <p:txBody>
            <a:bodyPr rtlCol="0" anchor="ctr">
              <a:noAutofit/>
            </a:bodyPr>
            <a:lstStyle/>
            <a:p>
              <a:pPr marL="0" indent="0" algn="ctr">
                <a:buNone/>
              </a:pPr>
              <a:r>
                <a:rPr lang="en-US" b="1" dirty="0">
                  <a:solidFill>
                    <a:schemeClr val="tx2"/>
                  </a:solidFill>
                </a:rPr>
                <a:t>Alternate Process</a:t>
              </a:r>
              <a:r>
                <a:rPr lang="en-US" dirty="0">
                  <a:solidFill>
                    <a:schemeClr val="tx2"/>
                  </a:solidFill>
                </a:rPr>
                <a:t> </a:t>
              </a:r>
            </a:p>
          </p:txBody>
        </p:sp>
        <p:sp>
          <p:nvSpPr>
            <p:cNvPr id="8" name="Rectangle 7">
              <a:extLst>
                <a:ext uri="{FF2B5EF4-FFF2-40B4-BE49-F238E27FC236}">
                  <a16:creationId xmlns:a16="http://schemas.microsoft.com/office/drawing/2014/main" id="{741DE7ED-4F8F-43CA-B7D2-7F1ACC44BBD0}"/>
                </a:ext>
              </a:extLst>
            </p:cNvPr>
            <p:cNvSpPr/>
            <p:nvPr/>
          </p:nvSpPr>
          <p:spPr>
            <a:xfrm>
              <a:off x="838200" y="2214602"/>
              <a:ext cx="2705099" cy="1754326"/>
            </a:xfrm>
            <a:prstGeom prst="rect">
              <a:avLst/>
            </a:prstGeom>
          </p:spPr>
          <p:txBody>
            <a:bodyPr wrap="square">
              <a:spAutoFit/>
            </a:bodyPr>
            <a:lstStyle/>
            <a:p>
              <a:r>
                <a:rPr lang="en-US" sz="3600" b="1" dirty="0">
                  <a:solidFill>
                    <a:schemeClr val="accent4"/>
                  </a:solidFill>
                </a:rPr>
                <a:t>Submitting Medical Records</a:t>
              </a:r>
            </a:p>
          </p:txBody>
        </p:sp>
      </p:grpSp>
      <p:sp>
        <p:nvSpPr>
          <p:cNvPr id="10" name="Rectangle 9">
            <a:extLst>
              <a:ext uri="{FF2B5EF4-FFF2-40B4-BE49-F238E27FC236}">
                <a16:creationId xmlns:a16="http://schemas.microsoft.com/office/drawing/2014/main" id="{80E8ADFC-1E42-4FCE-B6A9-3B223ACA7673}"/>
              </a:ext>
            </a:extLst>
          </p:cNvPr>
          <p:cNvSpPr/>
          <p:nvPr/>
        </p:nvSpPr>
        <p:spPr>
          <a:xfrm>
            <a:off x="4185352" y="772359"/>
            <a:ext cx="7988301" cy="5264334"/>
          </a:xfrm>
          <a:prstGeom prst="rect">
            <a:avLst/>
          </a:prstGeom>
          <a:solidFill>
            <a:schemeClr val="tx2">
              <a:alpha val="90000"/>
            </a:schemeClr>
          </a:solidFill>
        </p:spPr>
        <p:txBody>
          <a:bodyPr rtlCol="0" anchor="ctr">
            <a:noAutofit/>
          </a:bodyPr>
          <a:lstStyle/>
          <a:p>
            <a:pPr algn="ctr"/>
            <a:endParaRPr lang="en-US" sz="7200" b="1" spc="-300" dirty="0">
              <a:solidFill>
                <a:schemeClr val="bg1"/>
              </a:solidFill>
            </a:endParaRPr>
          </a:p>
        </p:txBody>
      </p:sp>
      <p:sp>
        <p:nvSpPr>
          <p:cNvPr id="4" name="Slide Number Placeholder 3">
            <a:extLst>
              <a:ext uri="{FF2B5EF4-FFF2-40B4-BE49-F238E27FC236}">
                <a16:creationId xmlns:a16="http://schemas.microsoft.com/office/drawing/2014/main" id="{63C3EB51-B71B-48EE-8831-34977D71E194}"/>
              </a:ext>
            </a:extLst>
          </p:cNvPr>
          <p:cNvSpPr>
            <a:spLocks noGrp="1"/>
          </p:cNvSpPr>
          <p:nvPr>
            <p:ph type="sldNum" sz="quarter" idx="10"/>
          </p:nvPr>
        </p:nvSpPr>
        <p:spPr/>
        <p:txBody>
          <a:bodyPr/>
          <a:lstStyle/>
          <a:p>
            <a:fld id="{E1D6E511-78F2-1D4C-8218-60E971E66380}" type="slidenum">
              <a:rPr lang="en-US" altLang="en-US" smtClean="0"/>
              <a:pPr/>
              <a:t>9</a:t>
            </a:fld>
            <a:endParaRPr lang="en-US" altLang="en-US" dirty="0"/>
          </a:p>
        </p:txBody>
      </p:sp>
      <p:grpSp>
        <p:nvGrpSpPr>
          <p:cNvPr id="7" name="Group 6">
            <a:extLst>
              <a:ext uri="{FF2B5EF4-FFF2-40B4-BE49-F238E27FC236}">
                <a16:creationId xmlns:a16="http://schemas.microsoft.com/office/drawing/2014/main" id="{96CDA500-0791-41FB-9ADD-B9E5703A35E7}"/>
              </a:ext>
            </a:extLst>
          </p:cNvPr>
          <p:cNvGrpSpPr/>
          <p:nvPr/>
        </p:nvGrpSpPr>
        <p:grpSpPr>
          <a:xfrm>
            <a:off x="4792367" y="934003"/>
            <a:ext cx="6792616" cy="4830190"/>
            <a:chOff x="4792368" y="1579350"/>
            <a:chExt cx="6792616" cy="4830190"/>
          </a:xfrm>
        </p:grpSpPr>
        <p:sp>
          <p:nvSpPr>
            <p:cNvPr id="12" name="Rectangle 11">
              <a:extLst>
                <a:ext uri="{FF2B5EF4-FFF2-40B4-BE49-F238E27FC236}">
                  <a16:creationId xmlns:a16="http://schemas.microsoft.com/office/drawing/2014/main" id="{0EA79784-76C2-4683-A7C4-014A9D8BFF01}"/>
                </a:ext>
              </a:extLst>
            </p:cNvPr>
            <p:cNvSpPr/>
            <p:nvPr/>
          </p:nvSpPr>
          <p:spPr>
            <a:xfrm>
              <a:off x="4810715" y="1579350"/>
              <a:ext cx="6774269" cy="492443"/>
            </a:xfrm>
            <a:prstGeom prst="rect">
              <a:avLst/>
            </a:prstGeom>
          </p:spPr>
          <p:txBody>
            <a:bodyPr wrap="square" lIns="0" tIns="0" rIns="0" bIns="0">
              <a:spAutoFit/>
            </a:bodyPr>
            <a:lstStyle/>
            <a:p>
              <a:r>
                <a:rPr lang="en-US" sz="1600" dirty="0">
                  <a:solidFill>
                    <a:schemeClr val="bg1"/>
                  </a:solidFill>
                </a:rPr>
                <a:t>Additional options for submitting documentation include U.S. Mail or on CDs or DVDs</a:t>
              </a:r>
            </a:p>
          </p:txBody>
        </p:sp>
        <p:sp>
          <p:nvSpPr>
            <p:cNvPr id="13" name="Rectangle 12">
              <a:extLst>
                <a:ext uri="{FF2B5EF4-FFF2-40B4-BE49-F238E27FC236}">
                  <a16:creationId xmlns:a16="http://schemas.microsoft.com/office/drawing/2014/main" id="{19B423C2-0D78-4A0C-9835-A168F04E5FBE}"/>
                </a:ext>
              </a:extLst>
            </p:cNvPr>
            <p:cNvSpPr/>
            <p:nvPr/>
          </p:nvSpPr>
          <p:spPr>
            <a:xfrm>
              <a:off x="4810715" y="3486024"/>
              <a:ext cx="6774269" cy="861774"/>
            </a:xfrm>
            <a:prstGeom prst="rect">
              <a:avLst/>
            </a:prstGeom>
          </p:spPr>
          <p:txBody>
            <a:bodyPr wrap="square" lIns="0" tIns="0" rIns="0" bIns="0">
              <a:spAutoFit/>
            </a:bodyPr>
            <a:lstStyle/>
            <a:p>
              <a:r>
                <a:rPr lang="en-US" sz="1400" dirty="0">
                  <a:solidFill>
                    <a:schemeClr val="bg1"/>
                  </a:solidFill>
                </a:rPr>
                <a:t>Important check point:</a:t>
              </a:r>
            </a:p>
            <a:p>
              <a:pPr marL="237744" lvl="1" indent="-237744">
                <a:buFont typeface="Arial" panose="020B0604020202020204" pitchFamily="34" charset="0"/>
                <a:buChar char="•"/>
              </a:pPr>
              <a:r>
                <a:rPr lang="en-US" sz="1400" dirty="0">
                  <a:solidFill>
                    <a:schemeClr val="bg1"/>
                  </a:solidFill>
                </a:rPr>
                <a:t>If your medical records systems use a power-plan type digital signature documentation, ensure the authentication or validation is included with your medical record submission</a:t>
              </a:r>
              <a:r>
                <a:rPr lang="en-US" sz="1200" dirty="0">
                  <a:solidFill>
                    <a:schemeClr val="bg1"/>
                  </a:solidFill>
                </a:rPr>
                <a:t>.  </a:t>
              </a:r>
            </a:p>
          </p:txBody>
        </p:sp>
        <p:sp>
          <p:nvSpPr>
            <p:cNvPr id="14" name="Rectangle 13">
              <a:extLst>
                <a:ext uri="{FF2B5EF4-FFF2-40B4-BE49-F238E27FC236}">
                  <a16:creationId xmlns:a16="http://schemas.microsoft.com/office/drawing/2014/main" id="{EC8FEBDF-5B8E-4285-B63D-042B1CDB515D}"/>
                </a:ext>
              </a:extLst>
            </p:cNvPr>
            <p:cNvSpPr/>
            <p:nvPr/>
          </p:nvSpPr>
          <p:spPr>
            <a:xfrm>
              <a:off x="4810715" y="4470548"/>
              <a:ext cx="6774269" cy="1938992"/>
            </a:xfrm>
            <a:prstGeom prst="rect">
              <a:avLst/>
            </a:prstGeom>
          </p:spPr>
          <p:txBody>
            <a:bodyPr wrap="square" lIns="0" tIns="0" rIns="0" bIns="0">
              <a:spAutoFit/>
            </a:bodyPr>
            <a:lstStyle/>
            <a:p>
              <a:r>
                <a:rPr lang="en-US" sz="1400" dirty="0">
                  <a:solidFill>
                    <a:schemeClr val="bg1"/>
                  </a:solidFill>
                </a:rPr>
                <a:t>Finally: </a:t>
              </a:r>
            </a:p>
            <a:p>
              <a:pPr marL="237744" lvl="1" indent="-237744">
                <a:buFont typeface="Arial" panose="020B0604020202020204" pitchFamily="34" charset="0"/>
                <a:buChar char="•"/>
              </a:pPr>
              <a:r>
                <a:rPr lang="en-US" sz="1400" dirty="0">
                  <a:solidFill>
                    <a:schemeClr val="bg1"/>
                  </a:solidFill>
                </a:rPr>
                <a:t>Make sure CD or DVD disks are password protected</a:t>
              </a:r>
            </a:p>
            <a:p>
              <a:pPr marL="237744" lvl="1" indent="-237744">
                <a:buFont typeface="Arial" panose="020B0604020202020204" pitchFamily="34" charset="0"/>
                <a:buChar char="•"/>
              </a:pPr>
              <a:r>
                <a:rPr lang="en-US" sz="1400" dirty="0">
                  <a:solidFill>
                    <a:schemeClr val="bg1"/>
                  </a:solidFill>
                </a:rPr>
                <a:t>To ensure proper processing for CDs encrypted with a password please email the password to MDG-PSR-Password-DataNotify@hms.com. </a:t>
              </a:r>
            </a:p>
            <a:p>
              <a:pPr marL="237744" lvl="1" indent="-237744">
                <a:buFont typeface="Arial" panose="020B0604020202020204" pitchFamily="34" charset="0"/>
                <a:buChar char="•"/>
              </a:pPr>
              <a:r>
                <a:rPr lang="en-US" sz="1400" dirty="0">
                  <a:solidFill>
                    <a:schemeClr val="bg1"/>
                  </a:solidFill>
                </a:rPr>
                <a:t>Also include the reference number from the records request letter and your facilities name. With the right information, we can start processing much more quickly. </a:t>
              </a:r>
            </a:p>
            <a:p>
              <a:pPr marL="237744" lvl="1" indent="-237744">
                <a:buFont typeface="Arial" panose="020B0604020202020204" pitchFamily="34" charset="0"/>
                <a:buChar char="•"/>
              </a:pPr>
              <a:r>
                <a:rPr lang="en-US" sz="1400" dirty="0">
                  <a:solidFill>
                    <a:schemeClr val="bg1"/>
                  </a:solidFill>
                </a:rPr>
                <a:t>A medical record is not deemed as a receipt until the CD and a valid password are received.</a:t>
              </a:r>
            </a:p>
          </p:txBody>
        </p:sp>
        <p:cxnSp>
          <p:nvCxnSpPr>
            <p:cNvPr id="22" name="Straight Connector 21">
              <a:extLst>
                <a:ext uri="{FF2B5EF4-FFF2-40B4-BE49-F238E27FC236}">
                  <a16:creationId xmlns:a16="http://schemas.microsoft.com/office/drawing/2014/main" id="{D07C67D7-4455-4E62-A395-DDCD12982150}"/>
                </a:ext>
              </a:extLst>
            </p:cNvPr>
            <p:cNvCxnSpPr>
              <a:cxnSpLocks/>
            </p:cNvCxnSpPr>
            <p:nvPr/>
          </p:nvCxnSpPr>
          <p:spPr>
            <a:xfrm>
              <a:off x="4792368" y="3395606"/>
              <a:ext cx="6774269" cy="0"/>
            </a:xfrm>
            <a:prstGeom prst="line">
              <a:avLst/>
            </a:prstGeom>
            <a:ln w="0">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BF636C-8343-4932-8A86-37F80332AA4D}"/>
                </a:ext>
              </a:extLst>
            </p:cNvPr>
            <p:cNvCxnSpPr>
              <a:cxnSpLocks/>
            </p:cNvCxnSpPr>
            <p:nvPr/>
          </p:nvCxnSpPr>
          <p:spPr>
            <a:xfrm>
              <a:off x="4810715" y="4444615"/>
              <a:ext cx="6774269" cy="0"/>
            </a:xfrm>
            <a:prstGeom prst="line">
              <a:avLst/>
            </a:prstGeom>
            <a:ln w="0">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8ACD1F38-C78D-4C6B-8308-25F3EE1D38E4}"/>
                </a:ext>
              </a:extLst>
            </p:cNvPr>
            <p:cNvSpPr/>
            <p:nvPr/>
          </p:nvSpPr>
          <p:spPr>
            <a:xfrm>
              <a:off x="4792368" y="2269980"/>
              <a:ext cx="6774269" cy="1077218"/>
            </a:xfrm>
            <a:prstGeom prst="rect">
              <a:avLst/>
            </a:prstGeom>
          </p:spPr>
          <p:txBody>
            <a:bodyPr wrap="square" lIns="0" tIns="0" rIns="0" bIns="0">
              <a:spAutoFit/>
            </a:bodyPr>
            <a:lstStyle/>
            <a:p>
              <a:r>
                <a:rPr lang="en-US" sz="1400" dirty="0">
                  <a:solidFill>
                    <a:schemeClr val="bg1"/>
                  </a:solidFill>
                </a:rPr>
                <a:t>If you choose one of these alternate methods, keep in mind: </a:t>
              </a:r>
            </a:p>
            <a:p>
              <a:pPr marL="237744" lvl="1" indent="-237744">
                <a:buFont typeface="Arial" panose="020B0604020202020204" pitchFamily="34" charset="0"/>
                <a:buChar char="•"/>
              </a:pPr>
              <a:r>
                <a:rPr lang="en-US" sz="1400" dirty="0">
                  <a:solidFill>
                    <a:schemeClr val="bg1"/>
                  </a:solidFill>
                </a:rPr>
                <a:t>Ensure your documentation is legible with good quality image scans.</a:t>
              </a:r>
            </a:p>
            <a:p>
              <a:pPr marL="237744" lvl="1" indent="-237744">
                <a:buFont typeface="Arial" panose="020B0604020202020204" pitchFamily="34" charset="0"/>
                <a:buChar char="•"/>
              </a:pPr>
              <a:r>
                <a:rPr lang="en-US" sz="1400" dirty="0">
                  <a:solidFill>
                    <a:schemeClr val="bg1"/>
                  </a:solidFill>
                </a:rPr>
                <a:t>Records should support the level of care provided for the dates of service requested, including inpatient admission orders, physician documentation and notes, and physician orders</a:t>
              </a:r>
            </a:p>
          </p:txBody>
        </p:sp>
        <p:cxnSp>
          <p:nvCxnSpPr>
            <p:cNvPr id="21" name="Straight Connector 20">
              <a:extLst>
                <a:ext uri="{FF2B5EF4-FFF2-40B4-BE49-F238E27FC236}">
                  <a16:creationId xmlns:a16="http://schemas.microsoft.com/office/drawing/2014/main" id="{B412AE55-9A86-4E7D-AFA0-DB401F09BE4F}"/>
                </a:ext>
              </a:extLst>
            </p:cNvPr>
            <p:cNvCxnSpPr>
              <a:cxnSpLocks/>
            </p:cNvCxnSpPr>
            <p:nvPr/>
          </p:nvCxnSpPr>
          <p:spPr>
            <a:xfrm>
              <a:off x="4810715" y="2221549"/>
              <a:ext cx="6774269" cy="0"/>
            </a:xfrm>
            <a:prstGeom prst="line">
              <a:avLst/>
            </a:prstGeom>
            <a:ln w="0">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3" name="Footer Placeholder 3">
            <a:extLst>
              <a:ext uri="{FF2B5EF4-FFF2-40B4-BE49-F238E27FC236}">
                <a16:creationId xmlns:a16="http://schemas.microsoft.com/office/drawing/2014/main" id="{90289EEF-ABE4-8523-6671-B9FED20E4CF0}"/>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13736901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QGLirgUO46eIeV9.c7g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gg4WzUiCdOy0Ykmvi_onQ"/>
</p:tagLst>
</file>

<file path=ppt/theme/theme1.xml><?xml version="1.0" encoding="utf-8"?>
<a:theme xmlns:a="http://schemas.openxmlformats.org/drawingml/2006/main" name="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Presentation1" id="{D12BD9FB-FA4F-244B-9926-9B6483247621}" vid="{940ED4DD-D343-6444-870C-ECD6BD42EDBD}"/>
    </a:ext>
  </a:extLst>
</a:theme>
</file>

<file path=ppt/theme/theme2.xml><?xml version="1.0" encoding="utf-8"?>
<a:theme xmlns:a="http://schemas.openxmlformats.org/drawingml/2006/main" name="1_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16.9-HMS-PPT-Template-100518-V8.potx [Read-Only]" id="{737FF825-1745-41ED-B194-8DD11C8A6015}" vid="{75CA715C-DE4C-4130-979E-130985F76605}"/>
    </a:ext>
  </a:extLst>
</a:theme>
</file>

<file path=ppt/theme/theme3.xml><?xml version="1.0" encoding="utf-8"?>
<a:theme xmlns:a="http://schemas.openxmlformats.org/drawingml/2006/main" name="2_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16.9-HMS-PPT-Template-100518-V8.potx [Read-Only]" id="{737FF825-1745-41ED-B194-8DD11C8A6015}" vid="{75CA715C-DE4C-4130-979E-130985F7660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descreen-HMS-Template-LIGHT-7_19 (2)</Template>
  <TotalTime>11301</TotalTime>
  <Words>3077</Words>
  <Application>Microsoft Office PowerPoint</Application>
  <PresentationFormat>Widescreen</PresentationFormat>
  <Paragraphs>384</Paragraphs>
  <Slides>34</Slides>
  <Notes>30</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45" baseType="lpstr">
      <vt:lpstr>Arial</vt:lpstr>
      <vt:lpstr>Arial Bold</vt:lpstr>
      <vt:lpstr>Calibri</vt:lpstr>
      <vt:lpstr>Georgia</vt:lpstr>
      <vt:lpstr>Tahoma</vt:lpstr>
      <vt:lpstr>Verdana</vt:lpstr>
      <vt:lpstr>Wingdings</vt:lpstr>
      <vt:lpstr>Office Theme</vt:lpstr>
      <vt:lpstr>1_Office Theme</vt:lpstr>
      <vt:lpstr>2_Office Theme</vt:lpstr>
      <vt:lpstr>think-cell Slide</vt:lpstr>
      <vt:lpstr>HMS Clinical Retrospective Review  </vt:lpstr>
      <vt:lpstr>Purpose</vt:lpstr>
      <vt:lpstr>PowerPoint Presentation</vt:lpstr>
      <vt:lpstr>Audit Process</vt:lpstr>
      <vt:lpstr>Overview of Audit Process</vt:lpstr>
      <vt:lpstr>Medical Record Requests</vt:lpstr>
      <vt:lpstr>Medical Record Requests</vt:lpstr>
      <vt:lpstr>PowerPoint Presentation</vt:lpstr>
      <vt:lpstr>PowerPoint Presentation</vt:lpstr>
      <vt:lpstr>Complex  Review</vt:lpstr>
      <vt:lpstr>Complex Review</vt:lpstr>
      <vt:lpstr>Review Process </vt:lpstr>
      <vt:lpstr>Determination Notification</vt:lpstr>
      <vt:lpstr>Determination Letters</vt:lpstr>
      <vt:lpstr>Informal Reconsiderations and Appeals</vt:lpstr>
      <vt:lpstr>Informal Reconsideration</vt:lpstr>
      <vt:lpstr>Informal Reconsideration</vt:lpstr>
      <vt:lpstr>Appeals  </vt:lpstr>
      <vt:lpstr>Exit Conference</vt:lpstr>
      <vt:lpstr>Exit Conference</vt:lpstr>
      <vt:lpstr>PowerPoint Presentation</vt:lpstr>
      <vt:lpstr>Provider Portal</vt:lpstr>
      <vt:lpstr>Provider Portal Home screen</vt:lpstr>
      <vt:lpstr>Manage Claims for Multiple Facilities</vt:lpstr>
      <vt:lpstr>View Specific Claims</vt:lpstr>
      <vt:lpstr>Claims Status and Submitting Medical Records</vt:lpstr>
      <vt:lpstr>Update Address Contact Information</vt:lpstr>
      <vt:lpstr>Update Contact Information</vt:lpstr>
      <vt:lpstr>Additional Provider Portal- Resources</vt:lpstr>
      <vt:lpstr>Provider Relations</vt:lpstr>
      <vt:lpstr>PowerPoint Presentation</vt:lpstr>
      <vt:lpstr>Provider Support</vt:lpstr>
      <vt:lpstr>PowerPoint Presentation</vt:lpstr>
      <vt:lpstr>Moving healthcare forwa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d anto</dc:creator>
  <cp:lastModifiedBy>Kalisch, Chantal</cp:lastModifiedBy>
  <cp:revision>219</cp:revision>
  <dcterms:created xsi:type="dcterms:W3CDTF">2019-10-01T07:14:19Z</dcterms:created>
  <dcterms:modified xsi:type="dcterms:W3CDTF">2023-11-09T18:55:24Z</dcterms:modified>
</cp:coreProperties>
</file>